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image/vnd.ms-photo" Extension="wdp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changesinfo+xml" PartName="/ppt/changesInfos/changesInfo1.xml"/>
  <Override ContentType="application/vnd.openxmlformats-officedocument.drawingml.diagramColors+xml" PartName="/ppt/diagrams/colors1.xml"/>
  <Override ContentType="application/vnd.openxmlformats-officedocument.drawingml.diagramData+xml" PartName="/ppt/diagrams/data1.xml"/>
  <Override ContentType="application/vnd.ms-office.drawingml.diagramDrawing+xml" PartName="/ppt/diagrams/drawing1.xml"/>
  <Override ContentType="application/vnd.openxmlformats-officedocument.drawingml.diagramLayout+xml" PartName="/ppt/diagrams/layout1.xml"/>
  <Override ContentType="application/vnd.openxmlformats-officedocument.drawingml.diagramStyle+xml" PartName="/ppt/diagrams/quickStyle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25.xml"/>
  <Override ContentType="application/vnd.openxmlformats-officedocument.presentationml.notesSlide+xml" PartName="/ppt/notesSlides/notesSlide26.xml"/>
  <Override ContentType="application/vnd.openxmlformats-officedocument.presentationml.notesSlide+xml" PartName="/ppt/notesSlides/notesSlide27.xml"/>
  <Override ContentType="application/vnd.openxmlformats-officedocument.presentationml.notesSlide+xml" PartName="/ppt/notesSlides/notesSlide28.xml"/>
  <Override ContentType="application/vnd.openxmlformats-officedocument.presentationml.notesSlide+xml" PartName="/ppt/notesSlides/notesSlide29.xml"/>
  <Override ContentType="application/vnd.openxmlformats-officedocument.presentationml.notesSlide+xml" PartName="/ppt/notesSlides/notesSlide30.xml"/>
  <Override ContentType="application/vnd.openxmlformats-officedocument.presentationml.notesSlide+xml" PartName="/ppt/notesSlides/notesSlide31.xml"/>
  <Override ContentType="application/vnd.openxmlformats-officedocument.presentationml.notesSlide+xml" PartName="/ppt/notesSlides/notesSlide32.xml"/>
  <Override ContentType="application/vnd.openxmlformats-officedocument.presentationml.notesSlide+xml" PartName="/ppt/notesSlides/notesSlide33.xml"/>
  <Override ContentType="application/vnd.openxmlformats-officedocument.presentationml.notesSlide+xml" PartName="/ppt/notesSlides/notesSlide34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slide+xml" PartName="/ppt/slides/slide27.xml"/>
  <Override ContentType="application/vnd.openxmlformats-officedocument.presentationml.slide+xml" PartName="/ppt/slides/slide28.xml"/>
  <Override ContentType="application/vnd.openxmlformats-officedocument.presentationml.slide+xml" PartName="/ppt/slides/slide29.xml"/>
  <Override ContentType="application/vnd.openxmlformats-officedocument.presentationml.slide+xml" PartName="/ppt/slides/slide30.xml"/>
  <Override ContentType="application/vnd.openxmlformats-officedocument.presentationml.slide+xml" PartName="/ppt/slides/slide31.xml"/>
  <Override ContentType="application/vnd.openxmlformats-officedocument.presentationml.slide+xml" PartName="/ppt/slides/slide32.xml"/>
  <Override ContentType="application/vnd.openxmlformats-officedocument.presentationml.slide+xml" PartName="/ppt/slides/slide33.xml"/>
  <Override ContentType="application/vnd.openxmlformats-officedocument.presentationml.slide+xml" PartName="/ppt/slides/slide34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tags+xml" PartName="/ppt/tags/tag30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9"/>
  </p:notesMasterIdLst>
  <p:sldIdLst>
    <p:sldId id="456" r:id="rId5"/>
    <p:sldId id="678" r:id="rId6"/>
    <p:sldId id="266" r:id="rId7"/>
    <p:sldId id="505" r:id="rId8"/>
    <p:sldId id="506" r:id="rId9"/>
    <p:sldId id="507" r:id="rId10"/>
    <p:sldId id="561" r:id="rId11"/>
    <p:sldId id="525" r:id="rId12"/>
    <p:sldId id="514" r:id="rId13"/>
    <p:sldId id="493" r:id="rId14"/>
    <p:sldId id="531" r:id="rId15"/>
    <p:sldId id="486" r:id="rId16"/>
    <p:sldId id="521" r:id="rId17"/>
    <p:sldId id="509" r:id="rId18"/>
    <p:sldId id="496" r:id="rId19"/>
    <p:sldId id="497" r:id="rId20"/>
    <p:sldId id="527" r:id="rId21"/>
    <p:sldId id="562" r:id="rId22"/>
    <p:sldId id="563" r:id="rId23"/>
    <p:sldId id="528" r:id="rId24"/>
    <p:sldId id="510" r:id="rId25"/>
    <p:sldId id="672" r:id="rId26"/>
    <p:sldId id="490" r:id="rId27"/>
    <p:sldId id="530" r:id="rId28"/>
    <p:sldId id="516" r:id="rId29"/>
    <p:sldId id="517" r:id="rId30"/>
    <p:sldId id="673" r:id="rId31"/>
    <p:sldId id="675" r:id="rId32"/>
    <p:sldId id="676" r:id="rId33"/>
    <p:sldId id="677" r:id="rId34"/>
    <p:sldId id="494" r:id="rId35"/>
    <p:sldId id="498" r:id="rId36"/>
    <p:sldId id="1098" r:id="rId37"/>
    <p:sldId id="1107" r:id="rId38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434" userDrawn="1">
          <p15:clr>
            <a:srgbClr val="A4A3A4"/>
          </p15:clr>
        </p15:guide>
        <p15:guide id="3" orient="horz" pos="3997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pos="907" userDrawn="1">
          <p15:clr>
            <a:srgbClr val="A4A3A4"/>
          </p15:clr>
        </p15:guide>
        <p15:guide id="6" pos="34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D9D9D9"/>
    <a:srgbClr val="E06055"/>
    <a:srgbClr val="FF3300"/>
    <a:srgbClr val="E6E6E6"/>
    <a:srgbClr val="44535A"/>
    <a:srgbClr val="F2F2F2"/>
    <a:srgbClr val="E7E6E6"/>
    <a:srgbClr val="FFF2CC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EFA83F-99B3-4D28-BAC6-20A0752C741F}" v="1" dt="2025-03-13T01:01:44.9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267" autoAdjust="0"/>
  </p:normalViewPr>
  <p:slideViewPr>
    <p:cSldViewPr snapToGrid="0">
      <p:cViewPr varScale="1">
        <p:scale>
          <a:sx n="80" d="100"/>
          <a:sy n="80" d="100"/>
        </p:scale>
        <p:origin x="808" y="56"/>
      </p:cViewPr>
      <p:guideLst>
        <p:guide orient="horz" pos="482"/>
        <p:guide orient="horz" pos="1434"/>
        <p:guide orient="horz" pos="3997"/>
        <p:guide orient="horz" pos="913"/>
        <p:guide pos="907"/>
        <p:guide pos="34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6.xml" Type="http://schemas.openxmlformats.org/officeDocument/2006/relationships/slide"/><Relationship Id="rId11" Target="slides/slide7.xml" Type="http://schemas.openxmlformats.org/officeDocument/2006/relationships/slide"/><Relationship Id="rId12" Target="slides/slide8.xml" Type="http://schemas.openxmlformats.org/officeDocument/2006/relationships/slide"/><Relationship Id="rId13" Target="slides/slide9.xml" Type="http://schemas.openxmlformats.org/officeDocument/2006/relationships/slide"/><Relationship Id="rId14" Target="slides/slide10.xml" Type="http://schemas.openxmlformats.org/officeDocument/2006/relationships/slide"/><Relationship Id="rId15" Target="slides/slide11.xml" Type="http://schemas.openxmlformats.org/officeDocument/2006/relationships/slide"/><Relationship Id="rId16" Target="slides/slide12.xml" Type="http://schemas.openxmlformats.org/officeDocument/2006/relationships/slide"/><Relationship Id="rId17" Target="slides/slide13.xml" Type="http://schemas.openxmlformats.org/officeDocument/2006/relationships/slide"/><Relationship Id="rId18" Target="slides/slide14.xml" Type="http://schemas.openxmlformats.org/officeDocument/2006/relationships/slide"/><Relationship Id="rId19" Target="slides/slide15.xml" Type="http://schemas.openxmlformats.org/officeDocument/2006/relationships/slide"/><Relationship Id="rId2" Target="../customXml/item2.xml" Type="http://schemas.openxmlformats.org/officeDocument/2006/relationships/customXml"/><Relationship Id="rId20" Target="slides/slide16.xml" Type="http://schemas.openxmlformats.org/officeDocument/2006/relationships/slide"/><Relationship Id="rId21" Target="slides/slide17.xml" Type="http://schemas.openxmlformats.org/officeDocument/2006/relationships/slide"/><Relationship Id="rId22" Target="slides/slide18.xml" Type="http://schemas.openxmlformats.org/officeDocument/2006/relationships/slide"/><Relationship Id="rId23" Target="slides/slide19.xml" Type="http://schemas.openxmlformats.org/officeDocument/2006/relationships/slide"/><Relationship Id="rId24" Target="slides/slide20.xml" Type="http://schemas.openxmlformats.org/officeDocument/2006/relationships/slide"/><Relationship Id="rId25" Target="slides/slide21.xml" Type="http://schemas.openxmlformats.org/officeDocument/2006/relationships/slide"/><Relationship Id="rId26" Target="slides/slide22.xml" Type="http://schemas.openxmlformats.org/officeDocument/2006/relationships/slide"/><Relationship Id="rId27" Target="slides/slide23.xml" Type="http://schemas.openxmlformats.org/officeDocument/2006/relationships/slide"/><Relationship Id="rId28" Target="slides/slide24.xml" Type="http://schemas.openxmlformats.org/officeDocument/2006/relationships/slide"/><Relationship Id="rId29" Target="slides/slide25.xml" Type="http://schemas.openxmlformats.org/officeDocument/2006/relationships/slide"/><Relationship Id="rId3" Target="../customXml/item3.xml" Type="http://schemas.openxmlformats.org/officeDocument/2006/relationships/customXml"/><Relationship Id="rId30" Target="slides/slide26.xml" Type="http://schemas.openxmlformats.org/officeDocument/2006/relationships/slide"/><Relationship Id="rId31" Target="slides/slide27.xml" Type="http://schemas.openxmlformats.org/officeDocument/2006/relationships/slide"/><Relationship Id="rId32" Target="slides/slide28.xml" Type="http://schemas.openxmlformats.org/officeDocument/2006/relationships/slide"/><Relationship Id="rId33" Target="slides/slide29.xml" Type="http://schemas.openxmlformats.org/officeDocument/2006/relationships/slide"/><Relationship Id="rId34" Target="slides/slide30.xml" Type="http://schemas.openxmlformats.org/officeDocument/2006/relationships/slide"/><Relationship Id="rId35" Target="slides/slide31.xml" Type="http://schemas.openxmlformats.org/officeDocument/2006/relationships/slide"/><Relationship Id="rId36" Target="slides/slide32.xml" Type="http://schemas.openxmlformats.org/officeDocument/2006/relationships/slide"/><Relationship Id="rId37" Target="slides/slide33.xml" Type="http://schemas.openxmlformats.org/officeDocument/2006/relationships/slide"/><Relationship Id="rId38" Target="slides/slide34.xml" Type="http://schemas.openxmlformats.org/officeDocument/2006/relationships/slide"/><Relationship Id="rId39" Target="notesMasters/notesMaster1.xml" Type="http://schemas.openxmlformats.org/officeDocument/2006/relationships/notesMaster"/><Relationship Id="rId4" Target="slideMasters/slideMaster1.xml" Type="http://schemas.openxmlformats.org/officeDocument/2006/relationships/slideMaster"/><Relationship Id="rId40" Target="presProps.xml" Type="http://schemas.openxmlformats.org/officeDocument/2006/relationships/presProps"/><Relationship Id="rId41" Target="viewProps.xml" Type="http://schemas.openxmlformats.org/officeDocument/2006/relationships/viewProps"/><Relationship Id="rId42" Target="theme/theme1.xml" Type="http://schemas.openxmlformats.org/officeDocument/2006/relationships/theme"/><Relationship Id="rId43" Target="tableStyles.xml" Type="http://schemas.openxmlformats.org/officeDocument/2006/relationships/tableStyles"/><Relationship Id="rId44" Target="changesInfos/changesInfo1.xml" Type="http://schemas.microsoft.com/office/2016/11/relationships/changesInfo"/><Relationship Id="rId45" Target="revisionInfo.xml" Type="http://schemas.microsoft.com/office/2015/10/relationships/revisionInfo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slides/slide5.xml" Type="http://schemas.openxmlformats.org/officeDocument/2006/relationships/slide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45EFA83F-99B3-4D28-BAC6-20A0752C741F}"/>
    <pc:docChg chg="addSld delSld modSld">
      <pc:chgData name="佐藤 悠哉" userId="faebc9e1-2a1d-42c8-8ba1-e1a81c5add00" providerId="ADAL" clId="{45EFA83F-99B3-4D28-BAC6-20A0752C741F}" dt="2025-03-13T01:01:44.901" v="1"/>
      <pc:docMkLst>
        <pc:docMk/>
      </pc:docMkLst>
      <pc:sldChg chg="del">
        <pc:chgData name="佐藤 悠哉" userId="faebc9e1-2a1d-42c8-8ba1-e1a81c5add00" providerId="ADAL" clId="{45EFA83F-99B3-4D28-BAC6-20A0752C741F}" dt="2025-03-13T01:01:42.977" v="0" actId="47"/>
        <pc:sldMkLst>
          <pc:docMk/>
          <pc:sldMk cId="4218032583" sldId="524"/>
        </pc:sldMkLst>
      </pc:sldChg>
      <pc:sldChg chg="add">
        <pc:chgData name="佐藤 悠哉" userId="faebc9e1-2a1d-42c8-8ba1-e1a81c5add00" providerId="ADAL" clId="{45EFA83F-99B3-4D28-BAC6-20A0752C741F}" dt="2025-03-13T01:01:44.901" v="1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45EFA83F-99B3-4D28-BAC6-20A0752C741F}" dt="2025-03-13T01:01:44.901" v="1"/>
        <pc:sldMkLst>
          <pc:docMk/>
          <pc:sldMk cId="449840931" sldId="1106"/>
        </pc:sldMkLst>
      </pc:sldChg>
    </pc:docChg>
  </pc:docChgLst>
  <pc:docChgLst>
    <pc:chgData name="佐藤 悠哉" userId="faebc9e1-2a1d-42c8-8ba1-e1a81c5add00" providerId="ADAL" clId="{9C6EF372-BE29-46F4-8F32-8AC25D540BF8}"/>
    <pc:docChg chg="modSld">
      <pc:chgData name="佐藤 悠哉" userId="faebc9e1-2a1d-42c8-8ba1-e1a81c5add00" providerId="ADAL" clId="{9C6EF372-BE29-46F4-8F32-8AC25D540BF8}" dt="2024-12-16T06:25:24.540" v="6" actId="20577"/>
      <pc:docMkLst>
        <pc:docMk/>
      </pc:docMkLst>
      <pc:sldChg chg="modSp mod">
        <pc:chgData name="佐藤 悠哉" userId="faebc9e1-2a1d-42c8-8ba1-e1a81c5add00" providerId="ADAL" clId="{9C6EF372-BE29-46F4-8F32-8AC25D540BF8}" dt="2024-12-16T05:00:13.829" v="3" actId="20577"/>
        <pc:sldMkLst>
          <pc:docMk/>
          <pc:sldMk cId="3308167297" sldId="456"/>
        </pc:sldMkLst>
        <pc:spChg chg="mod">
          <ac:chgData name="佐藤 悠哉" userId="faebc9e1-2a1d-42c8-8ba1-e1a81c5add00" providerId="ADAL" clId="{9C6EF372-BE29-46F4-8F32-8AC25D540BF8}" dt="2024-12-16T05:00:13.829" v="3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Tx">
        <pc:chgData name="佐藤 悠哉" userId="faebc9e1-2a1d-42c8-8ba1-e1a81c5add00" providerId="ADAL" clId="{9C6EF372-BE29-46F4-8F32-8AC25D540BF8}" dt="2024-12-16T05:00:58.056" v="4" actId="20577"/>
        <pc:sldMkLst>
          <pc:docMk/>
          <pc:sldMk cId="4132139775" sldId="561"/>
        </pc:sldMkLst>
      </pc:sldChg>
      <pc:sldChg chg="modNotesTx">
        <pc:chgData name="佐藤 悠哉" userId="faebc9e1-2a1d-42c8-8ba1-e1a81c5add00" providerId="ADAL" clId="{9C6EF372-BE29-46F4-8F32-8AC25D540BF8}" dt="2024-12-16T06:25:24.540" v="6" actId="20577"/>
        <pc:sldMkLst>
          <pc:docMk/>
          <pc:sldMk cId="3294693801" sldId="563"/>
        </pc:sldMkLst>
      </pc:sldChg>
      <pc:sldChg chg="modNotesTx">
        <pc:chgData name="佐藤 悠哉" userId="faebc9e1-2a1d-42c8-8ba1-e1a81c5add00" providerId="ADAL" clId="{9C6EF372-BE29-46F4-8F32-8AC25D540BF8}" dt="2024-12-16T05:08:55.800" v="5" actId="20577"/>
        <pc:sldMkLst>
          <pc:docMk/>
          <pc:sldMk cId="3206014381" sldId="673"/>
        </pc:sldMkLst>
      </pc:sldChg>
    </pc:docChg>
  </pc:docChgLst>
  <pc:docChgLst>
    <pc:chgData name="山田 英治" userId="9ffee3f4-f216-48e4-9b3d-afa6a3405312" providerId="ADAL" clId="{DFA8F18B-CF7F-475F-AEEA-DE1AAD60ACB0}"/>
    <pc:docChg chg="custSel modSld modNotesMaster">
      <pc:chgData name="山田 英治" userId="9ffee3f4-f216-48e4-9b3d-afa6a3405312" providerId="ADAL" clId="{DFA8F18B-CF7F-475F-AEEA-DE1AAD60ACB0}" dt="2024-11-15T02:30:12.175" v="62" actId="478"/>
      <pc:docMkLst>
        <pc:docMk/>
      </pc:docMkLst>
      <pc:sldChg chg="modNotes">
        <pc:chgData name="山田 英治" userId="9ffee3f4-f216-48e4-9b3d-afa6a3405312" providerId="ADAL" clId="{DFA8F18B-CF7F-475F-AEEA-DE1AAD60ACB0}" dt="2024-11-15T02:27:17.464" v="6" actId="478"/>
        <pc:sldMkLst>
          <pc:docMk/>
          <pc:sldMk cId="1393760011" sldId="266"/>
        </pc:sldMkLst>
      </pc:sldChg>
      <pc:sldChg chg="modNotes">
        <pc:chgData name="山田 英治" userId="9ffee3f4-f216-48e4-9b3d-afa6a3405312" providerId="ADAL" clId="{DFA8F18B-CF7F-475F-AEEA-DE1AAD60ACB0}" dt="2024-11-15T02:26:48.969" v="2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DFA8F18B-CF7F-475F-AEEA-DE1AAD60ACB0}" dt="2024-11-15T02:28:03.127" v="22" actId="478"/>
        <pc:sldMkLst>
          <pc:docMk/>
          <pc:sldMk cId="3332652969" sldId="486"/>
        </pc:sldMkLst>
      </pc:sldChg>
      <pc:sldChg chg="modNotes">
        <pc:chgData name="山田 英治" userId="9ffee3f4-f216-48e4-9b3d-afa6a3405312" providerId="ADAL" clId="{DFA8F18B-CF7F-475F-AEEA-DE1AAD60ACB0}" dt="2024-11-15T02:29:16.079" v="44" actId="478"/>
        <pc:sldMkLst>
          <pc:docMk/>
          <pc:sldMk cId="235810255" sldId="490"/>
        </pc:sldMkLst>
      </pc:sldChg>
      <pc:sldChg chg="modNotes">
        <pc:chgData name="山田 英治" userId="9ffee3f4-f216-48e4-9b3d-afa6a3405312" providerId="ADAL" clId="{DFA8F18B-CF7F-475F-AEEA-DE1AAD60ACB0}" dt="2024-11-15T02:27:47.545" v="18" actId="478"/>
        <pc:sldMkLst>
          <pc:docMk/>
          <pc:sldMk cId="708951616" sldId="493"/>
        </pc:sldMkLst>
      </pc:sldChg>
      <pc:sldChg chg="modNotes">
        <pc:chgData name="山田 英治" userId="9ffee3f4-f216-48e4-9b3d-afa6a3405312" providerId="ADAL" clId="{DFA8F18B-CF7F-475F-AEEA-DE1AAD60ACB0}" dt="2024-11-15T02:30:04.386" v="60" actId="478"/>
        <pc:sldMkLst>
          <pc:docMk/>
          <pc:sldMk cId="1924903537" sldId="494"/>
        </pc:sldMkLst>
      </pc:sldChg>
      <pc:sldChg chg="modNotes">
        <pc:chgData name="山田 英治" userId="9ffee3f4-f216-48e4-9b3d-afa6a3405312" providerId="ADAL" clId="{DFA8F18B-CF7F-475F-AEEA-DE1AAD60ACB0}" dt="2024-11-15T02:28:25.554" v="28" actId="478"/>
        <pc:sldMkLst>
          <pc:docMk/>
          <pc:sldMk cId="1471997465" sldId="496"/>
        </pc:sldMkLst>
      </pc:sldChg>
      <pc:sldChg chg="modNotes">
        <pc:chgData name="山田 英治" userId="9ffee3f4-f216-48e4-9b3d-afa6a3405312" providerId="ADAL" clId="{DFA8F18B-CF7F-475F-AEEA-DE1AAD60ACB0}" dt="2024-11-15T02:28:30.635" v="30" actId="478"/>
        <pc:sldMkLst>
          <pc:docMk/>
          <pc:sldMk cId="4289446888" sldId="497"/>
        </pc:sldMkLst>
      </pc:sldChg>
      <pc:sldChg chg="modNotes">
        <pc:chgData name="山田 英治" userId="9ffee3f4-f216-48e4-9b3d-afa6a3405312" providerId="ADAL" clId="{DFA8F18B-CF7F-475F-AEEA-DE1AAD60ACB0}" dt="2024-11-15T02:30:12.175" v="62" actId="478"/>
        <pc:sldMkLst>
          <pc:docMk/>
          <pc:sldMk cId="3644505402" sldId="498"/>
        </pc:sldMkLst>
      </pc:sldChg>
      <pc:sldChg chg="modNotes">
        <pc:chgData name="山田 英治" userId="9ffee3f4-f216-48e4-9b3d-afa6a3405312" providerId="ADAL" clId="{DFA8F18B-CF7F-475F-AEEA-DE1AAD60ACB0}" dt="2024-11-15T02:27:22.476" v="8" actId="478"/>
        <pc:sldMkLst>
          <pc:docMk/>
          <pc:sldMk cId="2029008917" sldId="505"/>
        </pc:sldMkLst>
      </pc:sldChg>
      <pc:sldChg chg="modNotes">
        <pc:chgData name="山田 英治" userId="9ffee3f4-f216-48e4-9b3d-afa6a3405312" providerId="ADAL" clId="{DFA8F18B-CF7F-475F-AEEA-DE1AAD60ACB0}" dt="2024-11-15T02:27:27.312" v="10" actId="478"/>
        <pc:sldMkLst>
          <pc:docMk/>
          <pc:sldMk cId="3260582720" sldId="506"/>
        </pc:sldMkLst>
      </pc:sldChg>
      <pc:sldChg chg="modNotes">
        <pc:chgData name="山田 英治" userId="9ffee3f4-f216-48e4-9b3d-afa6a3405312" providerId="ADAL" clId="{DFA8F18B-CF7F-475F-AEEA-DE1AAD60ACB0}" dt="2024-11-15T02:27:31.838" v="12" actId="478"/>
        <pc:sldMkLst>
          <pc:docMk/>
          <pc:sldMk cId="711410335" sldId="507"/>
        </pc:sldMkLst>
      </pc:sldChg>
      <pc:sldChg chg="modNotes">
        <pc:chgData name="山田 英治" userId="9ffee3f4-f216-48e4-9b3d-afa6a3405312" providerId="ADAL" clId="{DFA8F18B-CF7F-475F-AEEA-DE1AAD60ACB0}" dt="2024-11-15T02:28:16.529" v="26" actId="478"/>
        <pc:sldMkLst>
          <pc:docMk/>
          <pc:sldMk cId="2726910793" sldId="509"/>
        </pc:sldMkLst>
      </pc:sldChg>
      <pc:sldChg chg="modNotes">
        <pc:chgData name="山田 英治" userId="9ffee3f4-f216-48e4-9b3d-afa6a3405312" providerId="ADAL" clId="{DFA8F18B-CF7F-475F-AEEA-DE1AAD60ACB0}" dt="2024-11-15T02:29:03.582" v="40" actId="478"/>
        <pc:sldMkLst>
          <pc:docMk/>
          <pc:sldMk cId="1684375249" sldId="510"/>
        </pc:sldMkLst>
      </pc:sldChg>
      <pc:sldChg chg="modNotes">
        <pc:chgData name="山田 英治" userId="9ffee3f4-f216-48e4-9b3d-afa6a3405312" providerId="ADAL" clId="{DFA8F18B-CF7F-475F-AEEA-DE1AAD60ACB0}" dt="2024-11-15T02:29:28.832" v="48" actId="478"/>
        <pc:sldMkLst>
          <pc:docMk/>
          <pc:sldMk cId="2533595594" sldId="516"/>
        </pc:sldMkLst>
      </pc:sldChg>
      <pc:sldChg chg="modNotes">
        <pc:chgData name="山田 英治" userId="9ffee3f4-f216-48e4-9b3d-afa6a3405312" providerId="ADAL" clId="{DFA8F18B-CF7F-475F-AEEA-DE1AAD60ACB0}" dt="2024-11-15T02:29:34.971" v="50" actId="478"/>
        <pc:sldMkLst>
          <pc:docMk/>
          <pc:sldMk cId="3414624386" sldId="517"/>
        </pc:sldMkLst>
      </pc:sldChg>
      <pc:sldChg chg="modNotes">
        <pc:chgData name="山田 英治" userId="9ffee3f4-f216-48e4-9b3d-afa6a3405312" providerId="ADAL" clId="{DFA8F18B-CF7F-475F-AEEA-DE1AAD60ACB0}" dt="2024-11-15T02:28:09.842" v="24" actId="478"/>
        <pc:sldMkLst>
          <pc:docMk/>
          <pc:sldMk cId="2069182604" sldId="521"/>
        </pc:sldMkLst>
      </pc:sldChg>
      <pc:sldChg chg="modNotes">
        <pc:chgData name="山田 英治" userId="9ffee3f4-f216-48e4-9b3d-afa6a3405312" providerId="ADAL" clId="{DFA8F18B-CF7F-475F-AEEA-DE1AAD60ACB0}" dt="2024-11-15T02:27:42.382" v="16" actId="478"/>
        <pc:sldMkLst>
          <pc:docMk/>
          <pc:sldMk cId="3431891392" sldId="525"/>
        </pc:sldMkLst>
      </pc:sldChg>
      <pc:sldChg chg="modNotes">
        <pc:chgData name="山田 英治" userId="9ffee3f4-f216-48e4-9b3d-afa6a3405312" providerId="ADAL" clId="{DFA8F18B-CF7F-475F-AEEA-DE1AAD60ACB0}" dt="2024-11-15T02:28:35.186" v="32" actId="478"/>
        <pc:sldMkLst>
          <pc:docMk/>
          <pc:sldMk cId="2914901774" sldId="527"/>
        </pc:sldMkLst>
      </pc:sldChg>
      <pc:sldChg chg="modNotes">
        <pc:chgData name="山田 英治" userId="9ffee3f4-f216-48e4-9b3d-afa6a3405312" providerId="ADAL" clId="{DFA8F18B-CF7F-475F-AEEA-DE1AAD60ACB0}" dt="2024-11-15T02:28:56.926" v="38" actId="478"/>
        <pc:sldMkLst>
          <pc:docMk/>
          <pc:sldMk cId="1531692884" sldId="528"/>
        </pc:sldMkLst>
      </pc:sldChg>
      <pc:sldChg chg="modNotes">
        <pc:chgData name="山田 英治" userId="9ffee3f4-f216-48e4-9b3d-afa6a3405312" providerId="ADAL" clId="{DFA8F18B-CF7F-475F-AEEA-DE1AAD60ACB0}" dt="2024-11-15T02:29:21.723" v="46" actId="478"/>
        <pc:sldMkLst>
          <pc:docMk/>
          <pc:sldMk cId="526444231" sldId="530"/>
        </pc:sldMkLst>
      </pc:sldChg>
      <pc:sldChg chg="modNotes">
        <pc:chgData name="山田 英治" userId="9ffee3f4-f216-48e4-9b3d-afa6a3405312" providerId="ADAL" clId="{DFA8F18B-CF7F-475F-AEEA-DE1AAD60ACB0}" dt="2024-11-15T02:27:56.019" v="20" actId="478"/>
        <pc:sldMkLst>
          <pc:docMk/>
          <pc:sldMk cId="3396073569" sldId="531"/>
        </pc:sldMkLst>
      </pc:sldChg>
      <pc:sldChg chg="modNotes">
        <pc:chgData name="山田 英治" userId="9ffee3f4-f216-48e4-9b3d-afa6a3405312" providerId="ADAL" clId="{DFA8F18B-CF7F-475F-AEEA-DE1AAD60ACB0}" dt="2024-11-15T02:27:37.223" v="14" actId="478"/>
        <pc:sldMkLst>
          <pc:docMk/>
          <pc:sldMk cId="4132139775" sldId="561"/>
        </pc:sldMkLst>
      </pc:sldChg>
      <pc:sldChg chg="modNotes">
        <pc:chgData name="山田 英治" userId="9ffee3f4-f216-48e4-9b3d-afa6a3405312" providerId="ADAL" clId="{DFA8F18B-CF7F-475F-AEEA-DE1AAD60ACB0}" dt="2024-11-15T02:28:43.426" v="34" actId="478"/>
        <pc:sldMkLst>
          <pc:docMk/>
          <pc:sldMk cId="1317438556" sldId="562"/>
        </pc:sldMkLst>
      </pc:sldChg>
      <pc:sldChg chg="modNotes">
        <pc:chgData name="山田 英治" userId="9ffee3f4-f216-48e4-9b3d-afa6a3405312" providerId="ADAL" clId="{DFA8F18B-CF7F-475F-AEEA-DE1AAD60ACB0}" dt="2024-11-15T02:28:52.104" v="36" actId="478"/>
        <pc:sldMkLst>
          <pc:docMk/>
          <pc:sldMk cId="3294693801" sldId="563"/>
        </pc:sldMkLst>
      </pc:sldChg>
      <pc:sldChg chg="modNotes">
        <pc:chgData name="山田 英治" userId="9ffee3f4-f216-48e4-9b3d-afa6a3405312" providerId="ADAL" clId="{DFA8F18B-CF7F-475F-AEEA-DE1AAD60ACB0}" dt="2024-11-15T02:29:09.481" v="42" actId="478"/>
        <pc:sldMkLst>
          <pc:docMk/>
          <pc:sldMk cId="1182713967" sldId="672"/>
        </pc:sldMkLst>
      </pc:sldChg>
      <pc:sldChg chg="modNotes">
        <pc:chgData name="山田 英治" userId="9ffee3f4-f216-48e4-9b3d-afa6a3405312" providerId="ADAL" clId="{DFA8F18B-CF7F-475F-AEEA-DE1AAD60ACB0}" dt="2024-11-15T02:29:40.458" v="52" actId="478"/>
        <pc:sldMkLst>
          <pc:docMk/>
          <pc:sldMk cId="3206014381" sldId="673"/>
        </pc:sldMkLst>
      </pc:sldChg>
      <pc:sldChg chg="modNotes">
        <pc:chgData name="山田 英治" userId="9ffee3f4-f216-48e4-9b3d-afa6a3405312" providerId="ADAL" clId="{DFA8F18B-CF7F-475F-AEEA-DE1AAD60ACB0}" dt="2024-11-15T02:29:45.571" v="54" actId="478"/>
        <pc:sldMkLst>
          <pc:docMk/>
          <pc:sldMk cId="376795913" sldId="675"/>
        </pc:sldMkLst>
      </pc:sldChg>
      <pc:sldChg chg="modNotes">
        <pc:chgData name="山田 英治" userId="9ffee3f4-f216-48e4-9b3d-afa6a3405312" providerId="ADAL" clId="{DFA8F18B-CF7F-475F-AEEA-DE1AAD60ACB0}" dt="2024-11-15T02:29:52.582" v="56" actId="478"/>
        <pc:sldMkLst>
          <pc:docMk/>
          <pc:sldMk cId="619752410" sldId="676"/>
        </pc:sldMkLst>
      </pc:sldChg>
      <pc:sldChg chg="modNotes">
        <pc:chgData name="山田 英治" userId="9ffee3f4-f216-48e4-9b3d-afa6a3405312" providerId="ADAL" clId="{DFA8F18B-CF7F-475F-AEEA-DE1AAD60ACB0}" dt="2024-11-15T02:29:57.499" v="58" actId="478"/>
        <pc:sldMkLst>
          <pc:docMk/>
          <pc:sldMk cId="2872812478" sldId="677"/>
        </pc:sldMkLst>
      </pc:sldChg>
      <pc:sldChg chg="modNotes">
        <pc:chgData name="山田 英治" userId="9ffee3f4-f216-48e4-9b3d-afa6a3405312" providerId="ADAL" clId="{DFA8F18B-CF7F-475F-AEEA-DE1AAD60ACB0}" dt="2024-11-15T02:26:57.345" v="4" actId="478"/>
        <pc:sldMkLst>
          <pc:docMk/>
          <pc:sldMk cId="1707843994" sldId="678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12775"/>
            <a:ext cx="5372100" cy="4030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04241" y="4749691"/>
            <a:ext cx="5928868" cy="4502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19518" cy="495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1"/>
            <a:ext cx="2919518" cy="495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0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2.xml" Type="http://schemas.openxmlformats.org/officeDocument/2006/relationships/slide"/></Relationships>
</file>

<file path=ppt/notesSlides/_rels/notesSlide1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3.xml" Type="http://schemas.openxmlformats.org/officeDocument/2006/relationships/slide"/></Relationships>
</file>

<file path=ppt/notesSlides/_rels/notesSlide1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4.xml" Type="http://schemas.openxmlformats.org/officeDocument/2006/relationships/slide"/></Relationships>
</file>

<file path=ppt/notesSlides/_rels/notesSlide1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5.xml" Type="http://schemas.openxmlformats.org/officeDocument/2006/relationships/slide"/></Relationships>
</file>

<file path=ppt/notesSlides/_rels/notesSlide1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6.xml" Type="http://schemas.openxmlformats.org/officeDocument/2006/relationships/slide"/></Relationships>
</file>

<file path=ppt/notesSlides/_rels/notesSlide1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1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_rels/notesSlide1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9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2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0.xml" Type="http://schemas.openxmlformats.org/officeDocument/2006/relationships/slide"/></Relationships>
</file>

<file path=ppt/notesSlides/_rels/notesSlide2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1.xml" Type="http://schemas.openxmlformats.org/officeDocument/2006/relationships/slide"/></Relationships>
</file>

<file path=ppt/notesSlides/_rels/notesSlide2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2.xml" Type="http://schemas.openxmlformats.org/officeDocument/2006/relationships/slide"/></Relationships>
</file>

<file path=ppt/notesSlides/_rels/notesSlide2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3.xml" Type="http://schemas.openxmlformats.org/officeDocument/2006/relationships/slide"/></Relationships>
</file>

<file path=ppt/notesSlides/_rels/notesSlide2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4.xml" Type="http://schemas.openxmlformats.org/officeDocument/2006/relationships/slide"/></Relationships>
</file>

<file path=ppt/notesSlides/_rels/notesSlide2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5.xml" Type="http://schemas.openxmlformats.org/officeDocument/2006/relationships/slide"/></Relationships>
</file>

<file path=ppt/notesSlides/_rels/notesSlide2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6.xml" Type="http://schemas.openxmlformats.org/officeDocument/2006/relationships/slide"/></Relationships>
</file>

<file path=ppt/notesSlides/_rels/notesSlide2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7.xml" Type="http://schemas.openxmlformats.org/officeDocument/2006/relationships/slide"/></Relationships>
</file>

<file path=ppt/notesSlides/_rels/notesSlide2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8.xml" Type="http://schemas.openxmlformats.org/officeDocument/2006/relationships/slide"/></Relationships>
</file>

<file path=ppt/notesSlides/_rels/notesSlide2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9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_rels/notesSlide3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0.xml" Type="http://schemas.openxmlformats.org/officeDocument/2006/relationships/slide"/></Relationships>
</file>

<file path=ppt/notesSlides/_rels/notesSlide3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1.xml" Type="http://schemas.openxmlformats.org/officeDocument/2006/relationships/slide"/></Relationships>
</file>

<file path=ppt/notesSlides/_rels/notesSlide3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2.xml" Type="http://schemas.openxmlformats.org/officeDocument/2006/relationships/slide"/></Relationships>
</file>

<file path=ppt/notesSlides/_rels/notesSlide3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3.xml" Type="http://schemas.openxmlformats.org/officeDocument/2006/relationships/slide"/></Relationships>
</file>

<file path=ppt/notesSlides/_rels/notesSlide3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4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2B663ED-2D29-B72C-91B4-85CA380EEE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0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D4DBF4E-ABD4-B770-A7A4-45013EA5A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699948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44A8B3E-90D0-2931-E86B-1005C68A0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602741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47B2E84-0042-C1F7-CCB1-8ED40D6300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561759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3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FBE203F-7E2E-0650-6054-64AB40E3CA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89951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4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41A3635-0AE2-7E13-EC57-D70FD41442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847866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5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E86EBBA-F011-A1B5-FEBA-E2AC63841D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942866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6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F6FEAB6-1719-8DDC-DC29-498A9BF76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905098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7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44C38E8-EDE8-9B07-D4EB-030F5E9437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26373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8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ADA0BA2-559F-601E-D385-5FF24BC97B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715421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9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4F39450-F0A2-9995-9C07-A4147ACF48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41883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1C73D37-AB63-B94E-C558-CCFAD5C5EA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626076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0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0713F57-08FC-8AD3-10BF-A6C3B3B57C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918196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542A777-57D0-FE02-07FD-4017E6AF2B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509283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F5A75B5-29C2-9CC5-4824-3C4CFB7BE6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516109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3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D8F7647-316B-3DB1-74C7-DFE75772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871402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4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49A97FC-1063-E896-AA21-C5952BAC88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014889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5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81DD25D-4092-2867-03F9-978E0ECD56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925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6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B614B99-8F91-CD80-FF68-D95944E84F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997269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7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6F5D390-6581-7E42-30F6-EADCC627A3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471251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8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EA001FD-2927-D3F2-D69D-5CB4887B5C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607704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9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6F1F397-C187-226A-C1A3-646A40700F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11261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598D100-3D2D-956F-2E04-4CEE55666C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0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B82B47F-6067-87A6-B0F5-9DAE450E99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243979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05E7DA9-F8A5-B59F-9873-BECA2A0142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8153696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49C7789-E974-905D-9940-463CDBA5EE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103190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3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39415A2E-8127-708E-A27D-A6D321E0F1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7B59F26E-F966-635A-E759-9DE16BE56A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4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4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E3D2C27-007D-39DA-23F0-4DC6D11890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79328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5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63758A6-00B0-D16B-7AD4-B2D35742D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44732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6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471EA8C-67E9-1A65-AB61-732DDB4C02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622145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7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2627E9A-9E59-D169-393A-AD1ED02341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127686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8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07BB94-6DC3-4331-EC17-27316494E0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52962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9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C7BA857-2ABB-B8A3-E33C-F3EECFED60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47526816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.jpeg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dirty="0"/>
              <a:t>マーク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slideLayouts/slideLayout13.xml" Type="http://schemas.openxmlformats.org/officeDocument/2006/relationships/slideLayout"/><Relationship Id="rId14" Target="../slideLayouts/slideLayout14.xml" Type="http://schemas.openxmlformats.org/officeDocument/2006/relationships/slideLayout"/><Relationship Id="rId15" Target="../slideLayouts/slideLayout15.xml" Type="http://schemas.openxmlformats.org/officeDocument/2006/relationships/slideLayout"/><Relationship Id="rId16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.xml" Type="http://schemas.openxmlformats.org/officeDocument/2006/relationships/notesSlide"/><Relationship Id="rId3" Target="../media/image1.jpeg" Type="http://schemas.openxmlformats.org/officeDocument/2006/relationships/image"/><Relationship Id="rId4" Target="../media/image2.png" Type="http://schemas.openxmlformats.org/officeDocument/2006/relationships/image"/></Relationships>
</file>

<file path=ppt/slides/_rels/slide10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0.xml" Type="http://schemas.openxmlformats.org/officeDocument/2006/relationships/notesSlide"/><Relationship Id="rId4" Target="../media/image25.jpeg" Type="http://schemas.openxmlformats.org/officeDocument/2006/relationships/image"/><Relationship Id="rId5" Target="../media/image26.jpeg" Type="http://schemas.openxmlformats.org/officeDocument/2006/relationships/image"/><Relationship Id="rId6" Target="../media/image27.jpe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1.xml" Type="http://schemas.openxmlformats.org/officeDocument/2006/relationships/notesSlide"/><Relationship Id="rId4" Target="../media/image8.jpeg" Type="http://schemas.openxmlformats.org/officeDocument/2006/relationships/image"/><Relationship Id="rId5" Target="../media/image28.jpeg" Type="http://schemas.openxmlformats.org/officeDocument/2006/relationships/image"/><Relationship Id="rId6" Target="../embeddings/oleObject1.bin" Type="http://schemas.openxmlformats.org/officeDocument/2006/relationships/oleObject"/><Relationship Id="rId7" Target="../media/image4.emf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10" Target="../media/image11.jpe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2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29.jpeg" Type="http://schemas.openxmlformats.org/officeDocument/2006/relationships/image"/><Relationship Id="rId7" Target="../media/image30.jpeg" Type="http://schemas.openxmlformats.org/officeDocument/2006/relationships/image"/><Relationship Id="rId8" Target="../media/image31.jpeg" Type="http://schemas.openxmlformats.org/officeDocument/2006/relationships/image"/><Relationship Id="rId9" Target="../media/image32.jpeg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3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33.png" Type="http://schemas.openxmlformats.org/officeDocument/2006/relationships/image"/><Relationship Id="rId7" Target="../media/image11.jpeg" Type="http://schemas.openxmlformats.org/officeDocument/2006/relationships/image"/><Relationship Id="rId8" Target="../media/image34.jpeg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14.xml" Type="http://schemas.openxmlformats.org/officeDocument/2006/relationships/notesSlide"/><Relationship Id="rId3" Target="../media/image2.png" Type="http://schemas.openxmlformats.org/officeDocument/2006/relationships/image"/></Relationships>
</file>

<file path=ppt/slides/_rels/slide15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5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6.xml" Type="http://schemas.openxmlformats.org/officeDocument/2006/relationships/notesSlide"/><Relationship Id="rId4" Target="../media/image35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Relationship Id="rId7" Target="../media/image36.jpg" Type="http://schemas.openxmlformats.org/officeDocument/2006/relationships/image"/><Relationship Id="rId8" Target="../media/image37.png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7.xml" Type="http://schemas.openxmlformats.org/officeDocument/2006/relationships/notesSlide"/><Relationship Id="rId4" Target="../media/image38.jpeg" Type="http://schemas.openxmlformats.org/officeDocument/2006/relationships/image"/><Relationship Id="rId5" Target="../media/image39.png" Type="http://schemas.openxmlformats.org/officeDocument/2006/relationships/image"/><Relationship Id="rId6" Target="../media/hdphoto2.wdp" Type="http://schemas.microsoft.com/office/2007/relationships/hdphoto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8.xml" Type="http://schemas.openxmlformats.org/officeDocument/2006/relationships/notesSlide"/><Relationship Id="rId4" Target="../media/image38.jpeg" Type="http://schemas.openxmlformats.org/officeDocument/2006/relationships/image"/><Relationship Id="rId5" Target="../media/image40.png" Type="http://schemas.openxmlformats.org/officeDocument/2006/relationships/image"/><Relationship Id="rId6" Target="../embeddings/oleObject1.bin" Type="http://schemas.openxmlformats.org/officeDocument/2006/relationships/oleObject"/><Relationship Id="rId7" Target="../media/image4.emf" Type="http://schemas.openxmlformats.org/officeDocument/2006/relationships/image"/><Relationship Id="rId8" Target="../media/image39.png" Type="http://schemas.openxmlformats.org/officeDocument/2006/relationships/image"/><Relationship Id="rId9" Target="../media/hdphoto2.wdp" Type="http://schemas.microsoft.com/office/2007/relationships/hdphoto"/></Relationships>
</file>

<file path=ppt/slides/_rels/slide19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9.xml" Type="http://schemas.openxmlformats.org/officeDocument/2006/relationships/notesSlide"/><Relationship Id="rId4" Target="../media/image41.jpeg" Type="http://schemas.openxmlformats.org/officeDocument/2006/relationships/image"/><Relationship Id="rId5" Target="../media/image35.jpeg" Type="http://schemas.openxmlformats.org/officeDocument/2006/relationships/image"/><Relationship Id="rId6" Target="../embeddings/oleObject1.bin" Type="http://schemas.openxmlformats.org/officeDocument/2006/relationships/oleObject"/><Relationship Id="rId7" Target="../media/image4.emf" Type="http://schemas.openxmlformats.org/officeDocument/2006/relationships/image"/><Relationship Id="rId8" Target="../media/image42.png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Relationship Id="rId2" Target="../notesSlides/notesSlide2.xml" Type="http://schemas.openxmlformats.org/officeDocument/2006/relationships/notesSlide"/></Relationships>
</file>

<file path=ppt/slides/_rels/slide20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0.xml" Type="http://schemas.openxmlformats.org/officeDocument/2006/relationships/notesSlide"/><Relationship Id="rId4" Target="../media/image43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1.xml" Type="http://schemas.openxmlformats.org/officeDocument/2006/relationships/notesSlide"/><Relationship Id="rId4" Target="../media/image44.jpeg" Type="http://schemas.openxmlformats.org/officeDocument/2006/relationships/image"/><Relationship Id="rId5" Target="../media/image45.jpeg" Type="http://schemas.openxmlformats.org/officeDocument/2006/relationships/image"/><Relationship Id="rId6" Target="../embeddings/oleObject1.bin" Type="http://schemas.openxmlformats.org/officeDocument/2006/relationships/oleObject"/><Relationship Id="rId7" Target="../media/image4.emf" Type="http://schemas.openxmlformats.org/officeDocument/2006/relationships/image"/></Relationships>
</file>

<file path=ppt/slides/_rels/slide22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10" Target="../embeddings/oleObject1.bin" Type="http://schemas.openxmlformats.org/officeDocument/2006/relationships/oleObject"/><Relationship Id="rId11" Target="../media/image4.emf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22.xml" Type="http://schemas.openxmlformats.org/officeDocument/2006/relationships/notesSlide"/><Relationship Id="rId4" Target="../media/image46.jpeg" Type="http://schemas.openxmlformats.org/officeDocument/2006/relationships/image"/><Relationship Id="rId5" Target="../media/image47.png" Type="http://schemas.openxmlformats.org/officeDocument/2006/relationships/image"/><Relationship Id="rId6" Target="../media/hdphoto3.wdp" Type="http://schemas.microsoft.com/office/2007/relationships/hdphoto"/><Relationship Id="rId7" Target="../media/image48.jpeg" Type="http://schemas.openxmlformats.org/officeDocument/2006/relationships/image"/><Relationship Id="rId8" Target="../media/image49.png" Type="http://schemas.openxmlformats.org/officeDocument/2006/relationships/image"/><Relationship Id="rId9" Target="../media/hdphoto4.wdp" Type="http://schemas.microsoft.com/office/2007/relationships/hdphoto"/></Relationships>
</file>

<file path=ppt/slides/_rels/slide23.xml.rels><?xml version="1.0" encoding="UTF-8" standalone="yes"?><Relationships xmlns="http://schemas.openxmlformats.org/package/2006/relationships"><Relationship Id="rId1" Target="../tags/tag19.xml" Type="http://schemas.openxmlformats.org/officeDocument/2006/relationships/tags"/><Relationship Id="rId10" Target="../media/hdphoto1.wdp" Type="http://schemas.microsoft.com/office/2007/relationships/hdphoto"/><Relationship Id="rId11" Target="../embeddings/oleObject1.bin" Type="http://schemas.openxmlformats.org/officeDocument/2006/relationships/oleObject"/><Relationship Id="rId12" Target="../media/image4.emf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23.xml" Type="http://schemas.openxmlformats.org/officeDocument/2006/relationships/notesSlide"/><Relationship Id="rId4" Target="../media/image50.jpeg" Type="http://schemas.openxmlformats.org/officeDocument/2006/relationships/image"/><Relationship Id="rId5" Target="../media/image51.png" Type="http://schemas.openxmlformats.org/officeDocument/2006/relationships/image"/><Relationship Id="rId6" Target="../media/image52.png" Type="http://schemas.openxmlformats.org/officeDocument/2006/relationships/image"/><Relationship Id="rId7" Target="../media/image53.jpeg" Type="http://schemas.openxmlformats.org/officeDocument/2006/relationships/image"/><Relationship Id="rId8" Target="../media/image54.jpeg" Type="http://schemas.openxmlformats.org/officeDocument/2006/relationships/image"/><Relationship Id="rId9" Target="../media/image17.png" Type="http://schemas.openxmlformats.org/officeDocument/2006/relationships/image"/></Relationships>
</file>

<file path=ppt/slides/_rels/slide24.xml.rels><?xml version="1.0" encoding="UTF-8" standalone="yes"?><Relationships xmlns="http://schemas.openxmlformats.org/package/2006/relationships"><Relationship Id="rId1" Target="../tags/tag20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4.xml" Type="http://schemas.openxmlformats.org/officeDocument/2006/relationships/notesSlide"/><Relationship Id="rId4" Target="../media/image55.jpeg" Type="http://schemas.openxmlformats.org/officeDocument/2006/relationships/image"/><Relationship Id="rId5" Target="../media/image17.png" Type="http://schemas.openxmlformats.org/officeDocument/2006/relationships/image"/><Relationship Id="rId6" Target="../media/hdphoto1.wdp" Type="http://schemas.microsoft.com/office/2007/relationships/hdphoto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Relationship Id="rId9" Target="../media/image38.jpeg" Type="http://schemas.openxmlformats.org/officeDocument/2006/relationships/image"/></Relationships>
</file>

<file path=ppt/slides/_rels/slide25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10" Target="../media/image60.png" Type="http://schemas.openxmlformats.org/officeDocument/2006/relationships/image"/><Relationship Id="rId11" Target="../media/hdphoto5.wdp" Type="http://schemas.microsoft.com/office/2007/relationships/hdphoto"/><Relationship Id="rId2" Target="../slideLayouts/slideLayout5.xml" Type="http://schemas.openxmlformats.org/officeDocument/2006/relationships/slideLayout"/><Relationship Id="rId3" Target="../notesSlides/notesSlide25.xml" Type="http://schemas.openxmlformats.org/officeDocument/2006/relationships/notesSlide"/><Relationship Id="rId4" Target="../media/image56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Relationship Id="rId7" Target="../media/image57.jpg" Type="http://schemas.openxmlformats.org/officeDocument/2006/relationships/image"/><Relationship Id="rId8" Target="../media/image58.png" Type="http://schemas.openxmlformats.org/officeDocument/2006/relationships/image"/><Relationship Id="rId9" Target="../media/image59.jpeg" Type="http://schemas.openxmlformats.org/officeDocument/2006/relationships/image"/></Relationships>
</file>

<file path=ppt/slides/_rels/slide26.xml.rels><?xml version="1.0" encoding="UTF-8" standalone="yes"?><Relationships xmlns="http://schemas.openxmlformats.org/package/2006/relationships"><Relationship Id="rId1" Target="../tags/tag2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6.xml" Type="http://schemas.openxmlformats.org/officeDocument/2006/relationships/notesSlide"/><Relationship Id="rId4" Target="../media/image61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/Relationships>
</file>

<file path=ppt/slides/_rels/slide27.xml.rels><?xml version="1.0" encoding="UTF-8" standalone="yes"?><Relationships xmlns="http://schemas.openxmlformats.org/package/2006/relationships"><Relationship Id="rId1" Target="../tags/tag23.xml" Type="http://schemas.openxmlformats.org/officeDocument/2006/relationships/tags"/><Relationship Id="rId10" Target="../media/image63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27.xml" Type="http://schemas.openxmlformats.org/officeDocument/2006/relationships/notesSlide"/><Relationship Id="rId4" Target="../media/image61.jpeg" Type="http://schemas.openxmlformats.org/officeDocument/2006/relationships/image"/><Relationship Id="rId5" Target="../media/image62.jpeg" Type="http://schemas.openxmlformats.org/officeDocument/2006/relationships/image"/><Relationship Id="rId6" Target="../media/image17.png" Type="http://schemas.openxmlformats.org/officeDocument/2006/relationships/image"/><Relationship Id="rId7" Target="../media/hdphoto1.wdp" Type="http://schemas.microsoft.com/office/2007/relationships/hdphoto"/><Relationship Id="rId8" Target="../embeddings/oleObject1.bin" Type="http://schemas.openxmlformats.org/officeDocument/2006/relationships/oleObject"/><Relationship Id="rId9" Target="../media/image4.emf" Type="http://schemas.openxmlformats.org/officeDocument/2006/relationships/image"/></Relationships>
</file>

<file path=ppt/slides/_rels/slide28.xml.rels><?xml version="1.0" encoding="UTF-8" standalone="yes"?><Relationships xmlns="http://schemas.openxmlformats.org/package/2006/relationships"><Relationship Id="rId1" Target="../tags/tag24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8.xml" Type="http://schemas.openxmlformats.org/officeDocument/2006/relationships/notesSlide"/><Relationship Id="rId4" Target="../media/image64.jpeg" Type="http://schemas.openxmlformats.org/officeDocument/2006/relationships/image"/><Relationship Id="rId5" Target="../media/image17.png" Type="http://schemas.openxmlformats.org/officeDocument/2006/relationships/image"/><Relationship Id="rId6" Target="../media/hdphoto1.wdp" Type="http://schemas.microsoft.com/office/2007/relationships/hdphoto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Relationship Id="rId9" Target="../media/image65.png" Type="http://schemas.openxmlformats.org/officeDocument/2006/relationships/image"/></Relationships>
</file>

<file path=ppt/slides/_rels/slide29.xml.rels><?xml version="1.0" encoding="UTF-8" standalone="yes"?><Relationships xmlns="http://schemas.openxmlformats.org/package/2006/relationships"><Relationship Id="rId1" Target="../tags/tag25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9.xml" Type="http://schemas.openxmlformats.org/officeDocument/2006/relationships/notesSlide"/><Relationship Id="rId4" Target="../media/image66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Relationship Id="rId7" Target="../media/image61.jpeg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3.xml" Type="http://schemas.openxmlformats.org/officeDocument/2006/relationships/notesSlide"/><Relationship Id="rId3" Target="../media/image3.png" Type="http://schemas.openxmlformats.org/officeDocument/2006/relationships/image"/></Relationships>
</file>

<file path=ppt/slides/_rels/slide30.xml.rels><?xml version="1.0" encoding="UTF-8" standalone="yes"?><Relationships xmlns="http://schemas.openxmlformats.org/package/2006/relationships"><Relationship Id="rId1" Target="../tags/tag26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30.xml" Type="http://schemas.openxmlformats.org/officeDocument/2006/relationships/notesSlide"/><Relationship Id="rId4" Target="../media/image67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Relationship Id="rId7" Target="../media/image68.jpeg" Type="http://schemas.openxmlformats.org/officeDocument/2006/relationships/image"/><Relationship Id="rId8" Target="../media/image69.jpeg" Type="http://schemas.openxmlformats.org/officeDocument/2006/relationships/image"/></Relationships>
</file>

<file path=ppt/slides/_rels/slide31.xml.rels><?xml version="1.0" encoding="UTF-8" standalone="yes"?><Relationships xmlns="http://schemas.openxmlformats.org/package/2006/relationships"><Relationship Id="rId1" Target="../tags/tag27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31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70.png" Type="http://schemas.openxmlformats.org/officeDocument/2006/relationships/image"/><Relationship Id="rId7" Target="../media/image71.png" Type="http://schemas.openxmlformats.org/officeDocument/2006/relationships/image"/></Relationships>
</file>

<file path=ppt/slides/_rels/slide32.xml.rels><?xml version="1.0" encoding="UTF-8" standalone="yes"?><Relationships xmlns="http://schemas.openxmlformats.org/package/2006/relationships"><Relationship Id="rId1" Target="../tags/tag28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32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/Relationships>
</file>

<file path=ppt/slides/_rels/slide33.xml.rels><?xml version="1.0" encoding="UTF-8" standalone="yes"?><Relationships xmlns="http://schemas.openxmlformats.org/package/2006/relationships"><Relationship Id="rId1" Target="../tags/tag29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33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/Relationships>
</file>

<file path=ppt/slides/_rels/slide34.xml.rels><?xml version="1.0" encoding="UTF-8" standalone="yes"?><Relationships xmlns="http://schemas.openxmlformats.org/package/2006/relationships"><Relationship Id="rId1" Target="../tags/tag30.xml" Type="http://schemas.openxmlformats.org/officeDocument/2006/relationships/tags"/><Relationship Id="rId10" Target="../diagrams/drawing1.xml" Type="http://schemas.microsoft.com/office/2007/relationships/diagramDrawing"/><Relationship Id="rId2" Target="../slideLayouts/slideLayout5.xml" Type="http://schemas.openxmlformats.org/officeDocument/2006/relationships/slideLayout"/><Relationship Id="rId3" Target="../notesSlides/notesSlide34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diagrams/data1.xml" Type="http://schemas.openxmlformats.org/officeDocument/2006/relationships/diagramData"/><Relationship Id="rId7" Target="../diagrams/layout1.xml" Type="http://schemas.openxmlformats.org/officeDocument/2006/relationships/diagramLayout"/><Relationship Id="rId8" Target="../diagrams/quickStyle1.xml" Type="http://schemas.openxmlformats.org/officeDocument/2006/relationships/diagramQuickStyle"/><Relationship Id="rId9" Target="../diagrams/colors1.xml" Type="http://schemas.openxmlformats.org/officeDocument/2006/relationships/diagramColors"/></Relationships>
</file>

<file path=ppt/slides/_rels/slide4.xml.rels><?xml version="1.0" encoding="UTF-8" standalone="yes"?><Relationships xmlns="http://schemas.openxmlformats.org/package/2006/relationships"><Relationship Id="rId1" Target="../tags/tag1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5.jpeg" Type="http://schemas.openxmlformats.org/officeDocument/2006/relationships/image"/><Relationship Id="rId7" Target="../media/image6.jpeg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tags/tag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5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7.jpeg" Type="http://schemas.openxmlformats.org/officeDocument/2006/relationships/image"/><Relationship Id="rId7" Target="../media/image8.jpeg" Type="http://schemas.openxmlformats.org/officeDocument/2006/relationships/image"/><Relationship Id="rId8" Target="../media/image5.jpeg" Type="http://schemas.openxmlformats.org/officeDocument/2006/relationships/image"/></Relationships>
</file>

<file path=ppt/slides/_rels/slide6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10" Target="../media/image12.png" Type="http://schemas.openxmlformats.org/officeDocument/2006/relationships/image"/><Relationship Id="rId11" Target="../media/image13.png" Type="http://schemas.openxmlformats.org/officeDocument/2006/relationships/image"/><Relationship Id="rId12" Target="../media/image14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6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9.jpeg" Type="http://schemas.openxmlformats.org/officeDocument/2006/relationships/image"/><Relationship Id="rId7" Target="../media/image10.jpeg" Type="http://schemas.openxmlformats.org/officeDocument/2006/relationships/image"/><Relationship Id="rId8" Target="../media/image11.jpeg" Type="http://schemas.openxmlformats.org/officeDocument/2006/relationships/image"/><Relationship Id="rId9" Target="../media/image8.jpeg" Type="http://schemas.openxmlformats.org/officeDocument/2006/relationships/image"/></Relationships>
</file>

<file path=ppt/slides/_rels/slide7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10" Target="../media/image4.emf" Type="http://schemas.openxmlformats.org/officeDocument/2006/relationships/image"/><Relationship Id="rId11" Target="../media/image19.jpe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media/image15.jpeg" Type="http://schemas.openxmlformats.org/officeDocument/2006/relationships/image"/><Relationship Id="rId5" Target="../media/image16.png" Type="http://schemas.openxmlformats.org/officeDocument/2006/relationships/image"/><Relationship Id="rId6" Target="../media/image17.png" Type="http://schemas.openxmlformats.org/officeDocument/2006/relationships/image"/><Relationship Id="rId7" Target="../media/hdphoto1.wdp" Type="http://schemas.microsoft.com/office/2007/relationships/hdphoto"/><Relationship Id="rId8" Target="../media/image18.png" Type="http://schemas.openxmlformats.org/officeDocument/2006/relationships/image"/><Relationship Id="rId9" Target="../embeddings/oleObject1.bin" Type="http://schemas.openxmlformats.org/officeDocument/2006/relationships/oleObject"/></Relationships>
</file>

<file path=ppt/slides/_rels/slide8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10" Target="../media/hdphoto1.wdp" Type="http://schemas.microsoft.com/office/2007/relationships/hdphoto"/><Relationship Id="rId11" Target="../media/image22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8.xml" Type="http://schemas.openxmlformats.org/officeDocument/2006/relationships/notesSlide"/><Relationship Id="rId4" Target="../media/image20.jpeg" Type="http://schemas.openxmlformats.org/officeDocument/2006/relationships/image"/><Relationship Id="rId5" Target="../media/image15.jpeg" Type="http://schemas.openxmlformats.org/officeDocument/2006/relationships/image"/><Relationship Id="rId6" Target="../embeddings/oleObject1.bin" Type="http://schemas.openxmlformats.org/officeDocument/2006/relationships/oleObject"/><Relationship Id="rId7" Target="../media/image4.emf" Type="http://schemas.openxmlformats.org/officeDocument/2006/relationships/image"/><Relationship Id="rId8" Target="../media/image21.png" Type="http://schemas.openxmlformats.org/officeDocument/2006/relationships/image"/><Relationship Id="rId9" Target="../media/image17.png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10" Target="../embeddings/oleObject1.bin" Type="http://schemas.openxmlformats.org/officeDocument/2006/relationships/oleObject"/><Relationship Id="rId11" Target="../media/image4.emf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9.xml" Type="http://schemas.openxmlformats.org/officeDocument/2006/relationships/notesSlide"/><Relationship Id="rId4" Target="../media/image23.jpeg" Type="http://schemas.openxmlformats.org/officeDocument/2006/relationships/image"/><Relationship Id="rId5" Target="../media/image22.png" Type="http://schemas.openxmlformats.org/officeDocument/2006/relationships/image"/><Relationship Id="rId6" Target="../media/image17.png" Type="http://schemas.openxmlformats.org/officeDocument/2006/relationships/image"/><Relationship Id="rId7" Target="../media/hdphoto1.wdp" Type="http://schemas.microsoft.com/office/2007/relationships/hdphoto"/><Relationship Id="rId8" Target="../media/image24.png" Type="http://schemas.openxmlformats.org/officeDocument/2006/relationships/image"/><Relationship Id="rId9" Target="../media/image18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してみよ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1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A9924285-A8F8-2F5C-2169-E4371CAE3EE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/>
          <a:stretch/>
        </p:blipFill>
        <p:spPr>
          <a:xfrm>
            <a:off x="6216663" y="3037469"/>
            <a:ext cx="1925931" cy="1875415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7" name="図 6" descr="白黒の写真にテキストが書いてあるスマートフォンのスクリーンショット&#10;&#10;低い精度で自動的に生成された説明">
            <a:extLst>
              <a:ext uri="{FF2B5EF4-FFF2-40B4-BE49-F238E27FC236}">
                <a16:creationId xmlns:a16="http://schemas.microsoft.com/office/drawing/2014/main" id="{D3BD0BB2-93B6-25E0-083B-D9CF0E3878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785"/>
          <a:stretch/>
        </p:blipFill>
        <p:spPr>
          <a:xfrm>
            <a:off x="3438466" y="3040978"/>
            <a:ext cx="1898508" cy="1859906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5" name="図 4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AC5EB1F2-5E31-64FE-54EB-7544C8B9F8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39"/>
          <a:stretch/>
        </p:blipFill>
        <p:spPr>
          <a:xfrm>
            <a:off x="603296" y="3037469"/>
            <a:ext cx="1923564" cy="1857195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752B75AC-8FD0-6E51-C611-5327DB42C8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/>
              <a:t>キーボードの切り替え</a:t>
            </a: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33EF7686-4EC0-AA94-C015-9DF65E81CB9C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 dirty="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 dirty="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1075" name="タイトル 1">
            <a:extLst>
              <a:ext uri="{FF2B5EF4-FFF2-40B4-BE49-F238E27FC236}">
                <a16:creationId xmlns:a16="http://schemas.microsoft.com/office/drawing/2014/main" id="{6192E6AF-1E50-6262-5C50-CDDF2423A6A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92929FD-BF88-B32A-FC65-F6897EA7693B}"/>
              </a:ext>
            </a:extLst>
          </p:cNvPr>
          <p:cNvSpPr txBox="1"/>
          <p:nvPr/>
        </p:nvSpPr>
        <p:spPr>
          <a:xfrm>
            <a:off x="3819194" y="2212989"/>
            <a:ext cx="2302263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>
                <a:latin typeface="+mn-ea"/>
                <a:cs typeface="Times New Roman" panose="02020603050405020304" pitchFamily="18" charset="0"/>
              </a:rPr>
              <a:t>10</a:t>
            </a:r>
            <a:r>
              <a:rPr lang="ja-JP" altLang="en-US" kern="100">
                <a:latin typeface="+mn-ea"/>
                <a:cs typeface="Times New Roman" panose="02020603050405020304" pitchFamily="18" charset="0"/>
              </a:rPr>
              <a:t>キー配列</a:t>
            </a:r>
            <a:endParaRPr lang="ja-JP" altLang="ja-JP" kern="10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0A4E27DD-1B0D-0180-F6C9-059EE5073A9D}"/>
              </a:ext>
            </a:extLst>
          </p:cNvPr>
          <p:cNvSpPr txBox="1"/>
          <p:nvPr/>
        </p:nvSpPr>
        <p:spPr>
          <a:xfrm>
            <a:off x="3304648" y="2177452"/>
            <a:ext cx="627890" cy="565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D3D91EF-EEB0-486E-0747-087BB49C911C}"/>
              </a:ext>
            </a:extLst>
          </p:cNvPr>
          <p:cNvSpPr txBox="1"/>
          <p:nvPr/>
        </p:nvSpPr>
        <p:spPr>
          <a:xfrm>
            <a:off x="487839" y="2177452"/>
            <a:ext cx="627890" cy="565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31DD8EF-3603-F408-A3A8-8E7447171FAE}"/>
              </a:ext>
            </a:extLst>
          </p:cNvPr>
          <p:cNvSpPr txBox="1"/>
          <p:nvPr/>
        </p:nvSpPr>
        <p:spPr>
          <a:xfrm>
            <a:off x="939064" y="2212989"/>
            <a:ext cx="2092966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日本語配列</a:t>
            </a:r>
          </a:p>
        </p:txBody>
      </p:sp>
      <p:sp>
        <p:nvSpPr>
          <p:cNvPr id="44" name="テキスト ボックス 43" descr="10キー配列の画像">
            <a:extLst>
              <a:ext uri="{FF2B5EF4-FFF2-40B4-BE49-F238E27FC236}">
                <a16:creationId xmlns:a16="http://schemas.microsoft.com/office/drawing/2014/main" id="{37E18A0F-66AB-EDE8-B3EF-A1E3269EF533}"/>
              </a:ext>
            </a:extLst>
          </p:cNvPr>
          <p:cNvSpPr txBox="1"/>
          <p:nvPr/>
        </p:nvSpPr>
        <p:spPr>
          <a:xfrm>
            <a:off x="6636003" y="2212989"/>
            <a:ext cx="2302263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>
                <a:latin typeface="+mn-ea"/>
                <a:cs typeface="Times New Roman" panose="02020603050405020304" pitchFamily="18" charset="0"/>
              </a:rPr>
              <a:t>英語配列</a:t>
            </a:r>
            <a:endParaRPr lang="ja-JP" altLang="ja-JP" kern="10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A9F43E1-775E-9D38-8286-168A4E043B7B}"/>
              </a:ext>
            </a:extLst>
          </p:cNvPr>
          <p:cNvSpPr txBox="1"/>
          <p:nvPr/>
        </p:nvSpPr>
        <p:spPr>
          <a:xfrm>
            <a:off x="6147991" y="2188585"/>
            <a:ext cx="62789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1032" name="四角形: 角を丸くする 1031">
            <a:extLst>
              <a:ext uri="{FF2B5EF4-FFF2-40B4-BE49-F238E27FC236}">
                <a16:creationId xmlns:a16="http://schemas.microsoft.com/office/drawing/2014/main" id="{8CD5765F-0FA2-B418-6F34-0970915076B4}"/>
              </a:ext>
            </a:extLst>
          </p:cNvPr>
          <p:cNvSpPr/>
          <p:nvPr/>
        </p:nvSpPr>
        <p:spPr>
          <a:xfrm>
            <a:off x="3406252" y="3949657"/>
            <a:ext cx="427732" cy="35114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1033" name="四角形: 角を丸くする 1032">
            <a:extLst>
              <a:ext uri="{FF2B5EF4-FFF2-40B4-BE49-F238E27FC236}">
                <a16:creationId xmlns:a16="http://schemas.microsoft.com/office/drawing/2014/main" id="{02907AC2-5C42-E763-1E3E-85371617C649}"/>
              </a:ext>
            </a:extLst>
          </p:cNvPr>
          <p:cNvSpPr/>
          <p:nvPr/>
        </p:nvSpPr>
        <p:spPr>
          <a:xfrm>
            <a:off x="561582" y="3915260"/>
            <a:ext cx="427732" cy="35114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1055" name="四角形: 角を丸くする 1054">
            <a:extLst>
              <a:ext uri="{FF2B5EF4-FFF2-40B4-BE49-F238E27FC236}">
                <a16:creationId xmlns:a16="http://schemas.microsoft.com/office/drawing/2014/main" id="{08FA6582-3C69-A32B-003F-E50EC76E4855}"/>
              </a:ext>
            </a:extLst>
          </p:cNvPr>
          <p:cNvSpPr/>
          <p:nvPr/>
        </p:nvSpPr>
        <p:spPr>
          <a:xfrm>
            <a:off x="6184703" y="4261657"/>
            <a:ext cx="427732" cy="35114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cxnSp>
        <p:nvCxnSpPr>
          <p:cNvPr id="1058" name="直線矢印コネクタ 1057">
            <a:extLst>
              <a:ext uri="{FF2B5EF4-FFF2-40B4-BE49-F238E27FC236}">
                <a16:creationId xmlns:a16="http://schemas.microsoft.com/office/drawing/2014/main" id="{079469A0-65C8-6016-5796-E8A88F4A0513}"/>
              </a:ext>
            </a:extLst>
          </p:cNvPr>
          <p:cNvCxnSpPr>
            <a:cxnSpLocks/>
          </p:cNvCxnSpPr>
          <p:nvPr/>
        </p:nvCxnSpPr>
        <p:spPr>
          <a:xfrm>
            <a:off x="2614175" y="4125228"/>
            <a:ext cx="77178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1" name="直線矢印コネクタ 1060">
            <a:extLst>
              <a:ext uri="{FF2B5EF4-FFF2-40B4-BE49-F238E27FC236}">
                <a16:creationId xmlns:a16="http://schemas.microsoft.com/office/drawing/2014/main" id="{DBF58208-5D89-2821-1763-D7B4435E4EE7}"/>
              </a:ext>
            </a:extLst>
          </p:cNvPr>
          <p:cNvCxnSpPr>
            <a:cxnSpLocks/>
            <a:stCxn id="21" idx="2"/>
            <a:endCxn id="5" idx="2"/>
          </p:cNvCxnSpPr>
          <p:nvPr/>
        </p:nvCxnSpPr>
        <p:spPr>
          <a:xfrm rot="5400000" flipH="1">
            <a:off x="4363244" y="2096499"/>
            <a:ext cx="18220" cy="5614551"/>
          </a:xfrm>
          <a:prstGeom prst="bentConnector3">
            <a:avLst>
              <a:gd name="adj1" fmla="val -4042821"/>
            </a:avLst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字幕 14">
            <a:extLst>
              <a:ext uri="{FF2B5EF4-FFF2-40B4-BE49-F238E27FC236}">
                <a16:creationId xmlns:a16="http://schemas.microsoft.com/office/drawing/2014/main" id="{04BE50FF-0CBA-64FB-5B8B-D5864B4F350F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B2E20E5-B093-FB5B-E9D4-4487B2975415}"/>
              </a:ext>
            </a:extLst>
          </p:cNvPr>
          <p:cNvSpPr/>
          <p:nvPr/>
        </p:nvSpPr>
        <p:spPr>
          <a:xfrm>
            <a:off x="489881" y="3458060"/>
            <a:ext cx="1054870" cy="914400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cxnSp>
        <p:nvCxnSpPr>
          <p:cNvPr id="40" name="直線矢印コネクタ 39">
            <a:extLst>
              <a:ext uri="{FF2B5EF4-FFF2-40B4-BE49-F238E27FC236}">
                <a16:creationId xmlns:a16="http://schemas.microsoft.com/office/drawing/2014/main" id="{CD328FB4-D517-CA0E-FB64-AE40242039B3}"/>
              </a:ext>
            </a:extLst>
          </p:cNvPr>
          <p:cNvCxnSpPr>
            <a:cxnSpLocks/>
          </p:cNvCxnSpPr>
          <p:nvPr/>
        </p:nvCxnSpPr>
        <p:spPr>
          <a:xfrm>
            <a:off x="5412914" y="4125228"/>
            <a:ext cx="77178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15A1DB-AFCF-8C04-8068-83365443DC08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８</a:t>
            </a:r>
          </a:p>
        </p:txBody>
      </p:sp>
    </p:spTree>
    <p:extLst>
      <p:ext uri="{BB962C8B-B14F-4D97-AF65-F5344CB8AC3E}">
        <p14:creationId xmlns:p14="http://schemas.microsoft.com/office/powerpoint/2010/main" val="7089516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2E196500-2C19-19D5-F7F1-0CC343479E8F}"/>
              </a:ext>
            </a:extLst>
          </p:cNvPr>
          <p:cNvGrpSpPr>
            <a:grpSpLocks noChangeAspect="1"/>
          </p:cNvGrpSpPr>
          <p:nvPr/>
        </p:nvGrpSpPr>
        <p:grpSpPr>
          <a:xfrm>
            <a:off x="626165" y="3671699"/>
            <a:ext cx="3647507" cy="1871112"/>
            <a:chOff x="1323184" y="4177537"/>
            <a:chExt cx="1637227" cy="839871"/>
          </a:xfrm>
        </p:grpSpPr>
        <p:pic>
          <p:nvPicPr>
            <p:cNvPr id="27" name="図 26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79CC66BD-52BB-AAA2-0294-D1411C8DCB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324"/>
            <a:stretch/>
          </p:blipFill>
          <p:spPr>
            <a:xfrm>
              <a:off x="1323184" y="4177537"/>
              <a:ext cx="1637227" cy="8398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AD3F7B56-1564-1E4A-46B8-AAD61E86E891}"/>
                </a:ext>
              </a:extLst>
            </p:cNvPr>
            <p:cNvSpPr/>
            <p:nvPr/>
          </p:nvSpPr>
          <p:spPr>
            <a:xfrm>
              <a:off x="1633573" y="4492226"/>
              <a:ext cx="324398" cy="238016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34B37E6F-4BCF-7642-D23C-E34DF107260B}"/>
              </a:ext>
            </a:extLst>
          </p:cNvPr>
          <p:cNvGrpSpPr>
            <a:grpSpLocks noChangeAspect="1"/>
          </p:cNvGrpSpPr>
          <p:nvPr/>
        </p:nvGrpSpPr>
        <p:grpSpPr>
          <a:xfrm>
            <a:off x="4854357" y="3671701"/>
            <a:ext cx="3649683" cy="1871113"/>
            <a:chOff x="5321526" y="4177538"/>
            <a:chExt cx="1638203" cy="839871"/>
          </a:xfrm>
        </p:grpSpPr>
        <p:pic>
          <p:nvPicPr>
            <p:cNvPr id="30" name="図 29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106A7DDD-2A30-4F1C-BAFB-FF5C4DEEB3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339" b="-1"/>
            <a:stretch/>
          </p:blipFill>
          <p:spPr>
            <a:xfrm>
              <a:off x="5321526" y="4177538"/>
              <a:ext cx="1638203" cy="83987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110A012E-2C33-CA82-BA39-710AFA3223A2}"/>
                </a:ext>
              </a:extLst>
            </p:cNvPr>
            <p:cNvSpPr/>
            <p:nvPr/>
          </p:nvSpPr>
          <p:spPr>
            <a:xfrm>
              <a:off x="5612662" y="4497309"/>
              <a:ext cx="360000" cy="23817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752B75AC-8FD0-6E51-C611-5327DB42C8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 dirty="0"/>
              <a:t>キーボードの切り替え</a:t>
            </a:r>
          </a:p>
        </p:txBody>
      </p:sp>
      <p:sp>
        <p:nvSpPr>
          <p:cNvPr id="1075" name="タイトル 1">
            <a:extLst>
              <a:ext uri="{FF2B5EF4-FFF2-40B4-BE49-F238E27FC236}">
                <a16:creationId xmlns:a16="http://schemas.microsoft.com/office/drawing/2014/main" id="{6192E6AF-1E50-6262-5C50-CDDF2423A6A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8" name="字幕 14">
            <a:extLst>
              <a:ext uri="{FF2B5EF4-FFF2-40B4-BE49-F238E27FC236}">
                <a16:creationId xmlns:a16="http://schemas.microsoft.com/office/drawing/2014/main" id="{0DBE11F5-ECC6-774B-14F4-EAECF45C868A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82938B68-A133-9A31-CEF2-285C03328A3C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 dirty="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 dirty="0">
              <a:latin typeface="+mn-ea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75AAF7D-6337-F79B-F530-3495DAA00234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９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C20AEA15-6AC6-111B-7011-74341B396904}"/>
              </a:ext>
            </a:extLst>
          </p:cNvPr>
          <p:cNvSpPr txBox="1"/>
          <p:nvPr/>
        </p:nvSpPr>
        <p:spPr>
          <a:xfrm>
            <a:off x="1183654" y="1762776"/>
            <a:ext cx="25325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200" dirty="0">
                <a:solidFill>
                  <a:srgbClr val="4472C4"/>
                </a:solidFill>
                <a:latin typeface="+mn-ea"/>
              </a:rPr>
              <a:t>小文字の入力方法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9782639-245F-9AE7-3395-0F4884D16296}"/>
              </a:ext>
            </a:extLst>
          </p:cNvPr>
          <p:cNvSpPr txBox="1"/>
          <p:nvPr/>
        </p:nvSpPr>
        <p:spPr>
          <a:xfrm>
            <a:off x="5244726" y="1762776"/>
            <a:ext cx="28657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200" dirty="0">
                <a:solidFill>
                  <a:srgbClr val="4472C4"/>
                </a:solidFill>
                <a:latin typeface="+mn-ea"/>
              </a:rPr>
              <a:t>英大文字の入力方法</a:t>
            </a: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4C5D0F74-5AA1-EC8B-B692-8B5806F89F7E}"/>
              </a:ext>
            </a:extLst>
          </p:cNvPr>
          <p:cNvGrpSpPr/>
          <p:nvPr/>
        </p:nvGrpSpPr>
        <p:grpSpPr>
          <a:xfrm>
            <a:off x="599467" y="2249540"/>
            <a:ext cx="3972533" cy="1155893"/>
            <a:chOff x="1145866" y="2249540"/>
            <a:chExt cx="3972533" cy="1155893"/>
          </a:xfrm>
        </p:grpSpPr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8BC057C7-B904-37B0-292B-8D09162E54B6}"/>
                </a:ext>
              </a:extLst>
            </p:cNvPr>
            <p:cNvSpPr txBox="1"/>
            <p:nvPr/>
          </p:nvSpPr>
          <p:spPr>
            <a:xfrm>
              <a:off x="1660047" y="2289615"/>
              <a:ext cx="3458352" cy="1115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例：</a:t>
              </a:r>
              <a:r>
                <a:rPr lang="en-US" altLang="ja-JP" spc="300" dirty="0">
                  <a:latin typeface="+mn-ea"/>
                </a:rPr>
                <a:t>｢</a:t>
              </a:r>
              <a:r>
                <a:rPr lang="ja-JP" altLang="en-US" spc="300" dirty="0">
                  <a:latin typeface="+mn-ea"/>
                </a:rPr>
                <a:t>や</a:t>
              </a:r>
              <a:r>
                <a:rPr lang="en-US" altLang="ja-JP" dirty="0">
                  <a:latin typeface="+mn-ea"/>
                </a:rPr>
                <a:t>｣</a:t>
              </a:r>
              <a:r>
                <a:rPr lang="ja-JP" altLang="en-US" dirty="0">
                  <a:latin typeface="+mn-ea"/>
                </a:rPr>
                <a:t>と入力</a:t>
              </a:r>
              <a:endParaRPr lang="en-US" altLang="ja-JP" dirty="0">
                <a:latin typeface="+mn-ea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「や」と入力後に赤枠内を押すと</a:t>
              </a:r>
              <a:r>
                <a:rPr lang="en-US" altLang="ja-JP" dirty="0">
                  <a:latin typeface="+mn-ea"/>
                </a:rPr>
                <a:t>｢</a:t>
              </a:r>
              <a:r>
                <a:rPr lang="ja-JP" altLang="en-US" dirty="0">
                  <a:latin typeface="+mn-ea"/>
                </a:rPr>
                <a:t>ゃ</a:t>
              </a:r>
              <a:r>
                <a:rPr lang="en-US" altLang="ja-JP" dirty="0">
                  <a:latin typeface="+mn-ea"/>
                </a:rPr>
                <a:t>｣</a:t>
              </a:r>
              <a:r>
                <a:rPr lang="ja-JP" altLang="en-US" dirty="0">
                  <a:latin typeface="+mn-ea"/>
                </a:rPr>
                <a:t>と小文字になります</a:t>
              </a: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ADE99499-A5CD-B15C-A992-69FC0DA900F5}"/>
                </a:ext>
              </a:extLst>
            </p:cNvPr>
            <p:cNvSpPr txBox="1"/>
            <p:nvPr/>
          </p:nvSpPr>
          <p:spPr>
            <a:xfrm>
              <a:off x="1145866" y="2249540"/>
              <a:ext cx="627890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ja-JP" altLang="en-US" sz="3200" dirty="0">
                  <a:solidFill>
                    <a:srgbClr val="4472C4"/>
                  </a:solidFill>
                  <a:latin typeface="+mn-ea"/>
                  <a:cs typeface="Meiryo" charset="-128"/>
                </a:rPr>
                <a:t>❹</a:t>
              </a:r>
              <a:endParaRPr lang="en-US" altLang="ja-JP" sz="3200" dirty="0">
                <a:solidFill>
                  <a:srgbClr val="4472C4"/>
                </a:solidFill>
                <a:latin typeface="+mn-ea"/>
                <a:cs typeface="Meiryo" charset="-128"/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F44FCA98-83F7-24EB-A0EB-96C2B1838296}"/>
              </a:ext>
            </a:extLst>
          </p:cNvPr>
          <p:cNvGrpSpPr/>
          <p:nvPr/>
        </p:nvGrpSpPr>
        <p:grpSpPr>
          <a:xfrm>
            <a:off x="4846683" y="2249540"/>
            <a:ext cx="3784362" cy="1528812"/>
            <a:chOff x="5270428" y="2249540"/>
            <a:chExt cx="3784362" cy="1528812"/>
          </a:xfrm>
        </p:grpSpPr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6006B8DD-47C9-1487-A737-DCFD4133F39C}"/>
                </a:ext>
              </a:extLst>
            </p:cNvPr>
            <p:cNvSpPr txBox="1"/>
            <p:nvPr/>
          </p:nvSpPr>
          <p:spPr>
            <a:xfrm>
              <a:off x="5727482" y="2302435"/>
              <a:ext cx="3327308" cy="14759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例：</a:t>
              </a:r>
              <a:r>
                <a:rPr lang="en-US" altLang="ja-JP" dirty="0">
                  <a:latin typeface="+mn-ea"/>
                </a:rPr>
                <a:t>｢K｣</a:t>
              </a:r>
              <a:r>
                <a:rPr lang="ja-JP" altLang="en-US" dirty="0">
                  <a:latin typeface="+mn-ea"/>
                </a:rPr>
                <a:t>と入力</a:t>
              </a:r>
              <a:endParaRPr lang="en-US" altLang="ja-JP" dirty="0">
                <a:latin typeface="+mn-ea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「</a:t>
              </a:r>
              <a:r>
                <a:rPr lang="en-US" altLang="ja-JP" dirty="0">
                  <a:latin typeface="+mn-ea"/>
                </a:rPr>
                <a:t>k</a:t>
              </a:r>
              <a:r>
                <a:rPr lang="ja-JP" altLang="en-US" dirty="0">
                  <a:latin typeface="+mn-ea"/>
                </a:rPr>
                <a:t>」と入力後に下記赤枠内を</a:t>
              </a:r>
              <a:endParaRPr lang="en-US" altLang="ja-JP" dirty="0">
                <a:latin typeface="+mn-ea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押すと</a:t>
              </a:r>
              <a:r>
                <a:rPr lang="en-US" altLang="ja-JP" dirty="0">
                  <a:latin typeface="+mn-ea"/>
                </a:rPr>
                <a:t>｢K｣</a:t>
              </a:r>
              <a:r>
                <a:rPr lang="ja-JP" altLang="en-US" dirty="0">
                  <a:latin typeface="+mn-ea"/>
                </a:rPr>
                <a:t>と大文字になります</a:t>
              </a:r>
            </a:p>
            <a:p>
              <a:pPr>
                <a:lnSpc>
                  <a:spcPct val="130000"/>
                </a:lnSpc>
              </a:pPr>
              <a:endParaRPr lang="en-US" altLang="ja-JP" dirty="0">
                <a:latin typeface="+mn-ea"/>
              </a:endParaRPr>
            </a:p>
          </p:txBody>
        </p:sp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0E7B68D8-2FD0-8A3D-0B3B-ED816DCAF407}"/>
                </a:ext>
              </a:extLst>
            </p:cNvPr>
            <p:cNvSpPr txBox="1"/>
            <p:nvPr/>
          </p:nvSpPr>
          <p:spPr>
            <a:xfrm>
              <a:off x="5270428" y="2249540"/>
              <a:ext cx="627890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ja-JP" altLang="en-US" sz="3200" dirty="0">
                  <a:solidFill>
                    <a:srgbClr val="4472C4"/>
                  </a:solidFill>
                  <a:latin typeface="+mn-ea"/>
                  <a:cs typeface="Meiryo" charset="-128"/>
                </a:rPr>
                <a:t>❺</a:t>
              </a:r>
              <a:endParaRPr lang="en-US" altLang="ja-JP" sz="3200" dirty="0">
                <a:solidFill>
                  <a:srgbClr val="4472C4"/>
                </a:solidFill>
                <a:latin typeface="+mn-ea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60735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88ED2C28-5DA0-F3DF-D85E-079667E33326}"/>
              </a:ext>
            </a:extLst>
          </p:cNvPr>
          <p:cNvSpPr txBox="1"/>
          <p:nvPr/>
        </p:nvSpPr>
        <p:spPr>
          <a:xfrm>
            <a:off x="719815" y="1686723"/>
            <a:ext cx="54000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D6037486-9868-BB88-6FAB-A693268B979E}"/>
              </a:ext>
            </a:extLst>
          </p:cNvPr>
          <p:cNvSpPr txBox="1"/>
          <p:nvPr/>
        </p:nvSpPr>
        <p:spPr>
          <a:xfrm>
            <a:off x="3433055" y="1686723"/>
            <a:ext cx="54000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0B49224E-BF2F-03A1-CDB9-DB71AC84C52A}"/>
              </a:ext>
            </a:extLst>
          </p:cNvPr>
          <p:cNvSpPr txBox="1"/>
          <p:nvPr/>
        </p:nvSpPr>
        <p:spPr>
          <a:xfrm>
            <a:off x="1259815" y="1701271"/>
            <a:ext cx="19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絵文字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3DE79B54-96B1-480B-ED75-AA133C8E49A1}"/>
              </a:ext>
            </a:extLst>
          </p:cNvPr>
          <p:cNvSpPr txBox="1"/>
          <p:nvPr/>
        </p:nvSpPr>
        <p:spPr>
          <a:xfrm>
            <a:off x="6380588" y="1686723"/>
            <a:ext cx="54000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00" name="テキスト ボックス 2099">
            <a:extLst>
              <a:ext uri="{FF2B5EF4-FFF2-40B4-BE49-F238E27FC236}">
                <a16:creationId xmlns:a16="http://schemas.microsoft.com/office/drawing/2014/main" id="{1907883A-74FE-726B-76F7-F6465B5E6C64}"/>
              </a:ext>
            </a:extLst>
          </p:cNvPr>
          <p:cNvSpPr txBox="1"/>
          <p:nvPr/>
        </p:nvSpPr>
        <p:spPr>
          <a:xfrm>
            <a:off x="3988734" y="1701271"/>
            <a:ext cx="19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顔文字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7F174137-18FD-CAC7-6544-BF0036A26C72}"/>
              </a:ext>
            </a:extLst>
          </p:cNvPr>
          <p:cNvGrpSpPr/>
          <p:nvPr/>
        </p:nvGrpSpPr>
        <p:grpSpPr>
          <a:xfrm>
            <a:off x="3499808" y="4648923"/>
            <a:ext cx="2178427" cy="2159454"/>
            <a:chOff x="3811317" y="4682061"/>
            <a:chExt cx="1647848" cy="1633496"/>
          </a:xfrm>
        </p:grpSpPr>
        <p:pic>
          <p:nvPicPr>
            <p:cNvPr id="2096" name="図 209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B4E03CCE-4A5B-767D-31A7-6FC16EF9BD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370"/>
            <a:stretch/>
          </p:blipFill>
          <p:spPr>
            <a:xfrm>
              <a:off x="3811317" y="4722129"/>
              <a:ext cx="1647848" cy="1593428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35B8478B-1522-2CC9-24C4-21FD529D451A}"/>
                </a:ext>
              </a:extLst>
            </p:cNvPr>
            <p:cNvSpPr/>
            <p:nvPr/>
          </p:nvSpPr>
          <p:spPr>
            <a:xfrm>
              <a:off x="4294650" y="4694277"/>
              <a:ext cx="220555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2082" name="正方形/長方形 2081">
              <a:extLst>
                <a:ext uri="{FF2B5EF4-FFF2-40B4-BE49-F238E27FC236}">
                  <a16:creationId xmlns:a16="http://schemas.microsoft.com/office/drawing/2014/main" id="{CB0B2283-E0AB-FD34-1F8E-AFEE8C900493}"/>
                </a:ext>
              </a:extLst>
            </p:cNvPr>
            <p:cNvSpPr/>
            <p:nvPr/>
          </p:nvSpPr>
          <p:spPr>
            <a:xfrm>
              <a:off x="3829458" y="4682061"/>
              <a:ext cx="213201" cy="19757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2103" name="正方形/長方形 2102">
              <a:extLst>
                <a:ext uri="{FF2B5EF4-FFF2-40B4-BE49-F238E27FC236}">
                  <a16:creationId xmlns:a16="http://schemas.microsoft.com/office/drawing/2014/main" id="{1561A224-379A-39B6-8CC7-0227FE9BBC07}"/>
                </a:ext>
              </a:extLst>
            </p:cNvPr>
            <p:cNvSpPr/>
            <p:nvPr/>
          </p:nvSpPr>
          <p:spPr>
            <a:xfrm>
              <a:off x="4563380" y="4691956"/>
              <a:ext cx="220555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104" name="テキスト ボックス 2103">
            <a:extLst>
              <a:ext uri="{FF2B5EF4-FFF2-40B4-BE49-F238E27FC236}">
                <a16:creationId xmlns:a16="http://schemas.microsoft.com/office/drawing/2014/main" id="{9421FCD3-36AC-530A-E03A-CF7944245FB8}"/>
              </a:ext>
            </a:extLst>
          </p:cNvPr>
          <p:cNvSpPr txBox="1"/>
          <p:nvPr/>
        </p:nvSpPr>
        <p:spPr>
          <a:xfrm>
            <a:off x="6928901" y="1701271"/>
            <a:ext cx="18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記号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EA910E65-5913-15FE-1405-D67FCB07B633}"/>
              </a:ext>
            </a:extLst>
          </p:cNvPr>
          <p:cNvGrpSpPr/>
          <p:nvPr/>
        </p:nvGrpSpPr>
        <p:grpSpPr>
          <a:xfrm>
            <a:off x="6398573" y="2237488"/>
            <a:ext cx="2150388" cy="1850546"/>
            <a:chOff x="6396281" y="2530872"/>
            <a:chExt cx="1724485" cy="1484029"/>
          </a:xfrm>
        </p:grpSpPr>
        <p:pic>
          <p:nvPicPr>
            <p:cNvPr id="2093" name="図 2092" descr="カレンダー&#10;&#10;自動的に生成された説明">
              <a:extLst>
                <a:ext uri="{FF2B5EF4-FFF2-40B4-BE49-F238E27FC236}">
                  <a16:creationId xmlns:a16="http://schemas.microsoft.com/office/drawing/2014/main" id="{BA28995C-E0FD-2F20-5DCE-B28F2E7CC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6281" y="2530872"/>
              <a:ext cx="1724485" cy="148402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09" name="正方形/長方形 2108">
              <a:extLst>
                <a:ext uri="{FF2B5EF4-FFF2-40B4-BE49-F238E27FC236}">
                  <a16:creationId xmlns:a16="http://schemas.microsoft.com/office/drawing/2014/main" id="{4F910E7C-08B4-454E-EC18-CA50CADBDA7F}"/>
                </a:ext>
              </a:extLst>
            </p:cNvPr>
            <p:cNvSpPr/>
            <p:nvPr/>
          </p:nvSpPr>
          <p:spPr>
            <a:xfrm>
              <a:off x="6417111" y="3803671"/>
              <a:ext cx="242611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E4934CD7-DC9C-A9F5-573E-C31C951D3012}"/>
              </a:ext>
            </a:extLst>
          </p:cNvPr>
          <p:cNvGrpSpPr/>
          <p:nvPr/>
        </p:nvGrpSpPr>
        <p:grpSpPr>
          <a:xfrm>
            <a:off x="3475110" y="2236795"/>
            <a:ext cx="2203128" cy="1851239"/>
            <a:chOff x="3780882" y="2530179"/>
            <a:chExt cx="1724486" cy="1449047"/>
          </a:xfrm>
        </p:grpSpPr>
        <p:pic>
          <p:nvPicPr>
            <p:cNvPr id="2091" name="図 2090" descr="テキスト が含まれている画像&#10;&#10;自動的に生成された説明">
              <a:extLst>
                <a:ext uri="{FF2B5EF4-FFF2-40B4-BE49-F238E27FC236}">
                  <a16:creationId xmlns:a16="http://schemas.microsoft.com/office/drawing/2014/main" id="{B769FD91-E158-270F-6346-F91506CD2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0882" y="2530179"/>
              <a:ext cx="1724486" cy="1449047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13" name="正方形/長方形 2112">
              <a:extLst>
                <a:ext uri="{FF2B5EF4-FFF2-40B4-BE49-F238E27FC236}">
                  <a16:creationId xmlns:a16="http://schemas.microsoft.com/office/drawing/2014/main" id="{BCFBEDC6-EF66-5FD8-00E4-E7BBA0E2E06D}"/>
                </a:ext>
              </a:extLst>
            </p:cNvPr>
            <p:cNvSpPr/>
            <p:nvPr/>
          </p:nvSpPr>
          <p:spPr>
            <a:xfrm>
              <a:off x="3811317" y="3762322"/>
              <a:ext cx="220555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095E808-4B9A-A97D-65FE-77D9233665B5}"/>
              </a:ext>
            </a:extLst>
          </p:cNvPr>
          <p:cNvGrpSpPr/>
          <p:nvPr/>
        </p:nvGrpSpPr>
        <p:grpSpPr>
          <a:xfrm>
            <a:off x="758497" y="2236795"/>
            <a:ext cx="2205455" cy="1858840"/>
            <a:chOff x="1064270" y="2530179"/>
            <a:chExt cx="1726308" cy="1454997"/>
          </a:xfrm>
        </p:grpSpPr>
        <p:pic>
          <p:nvPicPr>
            <p:cNvPr id="2095" name="図 2094" descr="カレンダー&#10;&#10;自動的に生成された説明">
              <a:extLst>
                <a:ext uri="{FF2B5EF4-FFF2-40B4-BE49-F238E27FC236}">
                  <a16:creationId xmlns:a16="http://schemas.microsoft.com/office/drawing/2014/main" id="{061455DE-95E2-E403-AD22-20811E1AF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270" y="2530179"/>
              <a:ext cx="1726308" cy="1454997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18" name="正方形/長方形 2117">
              <a:extLst>
                <a:ext uri="{FF2B5EF4-FFF2-40B4-BE49-F238E27FC236}">
                  <a16:creationId xmlns:a16="http://schemas.microsoft.com/office/drawing/2014/main" id="{0C4F98B1-4DEE-B0E2-4FCF-3327EBB1DE5E}"/>
                </a:ext>
              </a:extLst>
            </p:cNvPr>
            <p:cNvSpPr/>
            <p:nvPr/>
          </p:nvSpPr>
          <p:spPr>
            <a:xfrm>
              <a:off x="1079263" y="3790973"/>
              <a:ext cx="242610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cxnSp>
        <p:nvCxnSpPr>
          <p:cNvPr id="2119" name="直線矢印コネクタ 2118">
            <a:extLst>
              <a:ext uri="{FF2B5EF4-FFF2-40B4-BE49-F238E27FC236}">
                <a16:creationId xmlns:a16="http://schemas.microsoft.com/office/drawing/2014/main" id="{A14759E3-F5E4-A7AC-2ED1-B3A8B199DA58}"/>
              </a:ext>
            </a:extLst>
          </p:cNvPr>
          <p:cNvCxnSpPr>
            <a:cxnSpLocks/>
          </p:cNvCxnSpPr>
          <p:nvPr/>
        </p:nvCxnSpPr>
        <p:spPr>
          <a:xfrm flipV="1">
            <a:off x="4284551" y="4079285"/>
            <a:ext cx="0" cy="55823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39F21190-27EF-9C05-FC23-2BA8E1938495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BE2E7350-193E-03E6-9AC9-57DF5015DB75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 dirty="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 dirty="0">
              <a:latin typeface="+mn-ea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C12D2F0B-A59F-69A8-FDBA-07B4025ABF85}"/>
              </a:ext>
            </a:extLst>
          </p:cNvPr>
          <p:cNvCxnSpPr>
            <a:cxnSpLocks/>
          </p:cNvCxnSpPr>
          <p:nvPr/>
        </p:nvCxnSpPr>
        <p:spPr>
          <a:xfrm rot="16200000" flipV="1">
            <a:off x="2486326" y="3470534"/>
            <a:ext cx="553288" cy="1803489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8">
            <a:extLst>
              <a:ext uri="{FF2B5EF4-FFF2-40B4-BE49-F238E27FC236}">
                <a16:creationId xmlns:a16="http://schemas.microsoft.com/office/drawing/2014/main" id="{650E02AC-F577-7DC7-40FE-F3FCD642DCF4}"/>
              </a:ext>
            </a:extLst>
          </p:cNvPr>
          <p:cNvCxnSpPr>
            <a:cxnSpLocks/>
            <a:endCxn id="2093" idx="2"/>
          </p:cNvCxnSpPr>
          <p:nvPr/>
        </p:nvCxnSpPr>
        <p:spPr>
          <a:xfrm rot="5400000" flipH="1" flipV="1">
            <a:off x="5769802" y="2958039"/>
            <a:ext cx="573970" cy="2833960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6CC6BC38-32E6-8435-BB09-F02E63171504}"/>
              </a:ext>
            </a:extLst>
          </p:cNvPr>
          <p:cNvSpPr txBox="1"/>
          <p:nvPr/>
        </p:nvSpPr>
        <p:spPr>
          <a:xfrm>
            <a:off x="261837" y="4662004"/>
            <a:ext cx="2991533" cy="1475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</a:rPr>
              <a:t>いずれも左下に表示される</a:t>
            </a:r>
            <a:endParaRPr lang="en-US" altLang="ja-JP">
              <a:latin typeface="+mn-ea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+mn-ea"/>
              </a:rPr>
              <a:t>　　ボタンを押すことで元のキーボード表示に戻ることができます</a:t>
            </a:r>
          </a:p>
        </p:txBody>
      </p:sp>
      <p:pic>
        <p:nvPicPr>
          <p:cNvPr id="18" name="図 17" descr="カレンダー&#10;&#10;自動的に生成された説明">
            <a:extLst>
              <a:ext uri="{FF2B5EF4-FFF2-40B4-BE49-F238E27FC236}">
                <a16:creationId xmlns:a16="http://schemas.microsoft.com/office/drawing/2014/main" id="{6303545C-89C0-8F37-AABB-3E419B37E9D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7" t="89499" r="88834" b="3218"/>
          <a:stretch/>
        </p:blipFill>
        <p:spPr>
          <a:xfrm>
            <a:off x="351238" y="5124092"/>
            <a:ext cx="237767" cy="228102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 cap="flat" cmpd="sng" algn="ctr">
            <a:noFill/>
            <a:prstDash val="solid"/>
            <a:miter lim="800000"/>
          </a:ln>
          <a:effectLst/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E53B5B7-1155-8D5E-BCE3-F0A821A8B510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０</a:t>
            </a:r>
          </a:p>
        </p:txBody>
      </p:sp>
      <p:sp>
        <p:nvSpPr>
          <p:cNvPr id="10" name="タイトル 3">
            <a:extLst>
              <a:ext uri="{FF2B5EF4-FFF2-40B4-BE49-F238E27FC236}">
                <a16:creationId xmlns:a16="http://schemas.microsoft.com/office/drawing/2014/main" id="{FEA811AB-8EDB-5056-7EBD-F79187A8209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キーボードの切り替え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32652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A1E2568-58BA-0C77-32FB-1F4A487D7BC8}"/>
              </a:ext>
            </a:extLst>
          </p:cNvPr>
          <p:cNvSpPr txBox="1"/>
          <p:nvPr/>
        </p:nvSpPr>
        <p:spPr>
          <a:xfrm>
            <a:off x="6599238" y="3429000"/>
            <a:ext cx="2407602" cy="1836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　 　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長押しすると選択画面が表示されるので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変更したいキーボード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6" name="図 2085">
            <a:extLst>
              <a:ext uri="{FF2B5EF4-FFF2-40B4-BE49-F238E27FC236}">
                <a16:creationId xmlns:a16="http://schemas.microsoft.com/office/drawing/2014/main" id="{30254948-4F65-C504-8E40-773F610CE64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856" r="15539"/>
          <a:stretch/>
        </p:blipFill>
        <p:spPr>
          <a:xfrm>
            <a:off x="7419687" y="3474601"/>
            <a:ext cx="332125" cy="350406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 cap="flat" cmpd="sng" algn="ctr">
            <a:noFill/>
            <a:prstDash val="solid"/>
            <a:miter lim="800000"/>
          </a:ln>
          <a:effectLst/>
        </p:spPr>
      </p:pic>
      <p:sp>
        <p:nvSpPr>
          <p:cNvPr id="3" name="字幕 14">
            <a:extLst>
              <a:ext uri="{FF2B5EF4-FFF2-40B4-BE49-F238E27FC236}">
                <a16:creationId xmlns:a16="http://schemas.microsoft.com/office/drawing/2014/main" id="{ACDBEFA2-0909-F3E0-A3E7-45A79B78C554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31A84EDE-3B03-7109-DA96-AF793F185522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F1DE6A84-C3FA-EF81-5977-9AB742CD555E}"/>
              </a:ext>
            </a:extLst>
          </p:cNvPr>
          <p:cNvGrpSpPr>
            <a:grpSpLocks noChangeAspect="1"/>
          </p:cNvGrpSpPr>
          <p:nvPr/>
        </p:nvGrpSpPr>
        <p:grpSpPr>
          <a:xfrm>
            <a:off x="2581065" y="2785217"/>
            <a:ext cx="3860130" cy="3687680"/>
            <a:chOff x="3454081" y="2827285"/>
            <a:chExt cx="2249376" cy="2148885"/>
          </a:xfrm>
        </p:grpSpPr>
        <p:pic>
          <p:nvPicPr>
            <p:cNvPr id="2121" name="図 2120" descr="カレンダー が含まれている画像&#10;&#10;自動的に生成された説明">
              <a:extLst>
                <a:ext uri="{FF2B5EF4-FFF2-40B4-BE49-F238E27FC236}">
                  <a16:creationId xmlns:a16="http://schemas.microsoft.com/office/drawing/2014/main" id="{7CD905C2-01E5-9E57-249A-B93C3A94D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030"/>
            <a:stretch/>
          </p:blipFill>
          <p:spPr>
            <a:xfrm>
              <a:off x="3498002" y="2827285"/>
              <a:ext cx="2205455" cy="214888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3A4CF529-B455-41A5-5FED-4C8E6AE72A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4081" y="4222397"/>
              <a:ext cx="505976" cy="43794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0DC5050-2EAE-1DBA-DEE2-70D201A362B1}"/>
              </a:ext>
            </a:extLst>
          </p:cNvPr>
          <p:cNvSpPr txBox="1"/>
          <p:nvPr/>
        </p:nvSpPr>
        <p:spPr>
          <a:xfrm>
            <a:off x="3123889" y="1625705"/>
            <a:ext cx="29190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ーボードの切り替え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9ADD8840-BF03-FD79-962B-EE62853CA102}"/>
              </a:ext>
            </a:extLst>
          </p:cNvPr>
          <p:cNvSpPr txBox="1"/>
          <p:nvPr/>
        </p:nvSpPr>
        <p:spPr>
          <a:xfrm>
            <a:off x="2656440" y="2134056"/>
            <a:ext cx="62789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❹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DF59AAF9-9E94-C0A1-F309-A94A6F5E0BA0}"/>
              </a:ext>
            </a:extLst>
          </p:cNvPr>
          <p:cNvSpPr txBox="1"/>
          <p:nvPr/>
        </p:nvSpPr>
        <p:spPr>
          <a:xfrm>
            <a:off x="3207131" y="2164834"/>
            <a:ext cx="3006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+mn-ea"/>
              </a:rPr>
              <a:t>ローマ字入力への切り替え</a:t>
            </a:r>
            <a:endParaRPr lang="en-US" altLang="ja-JP">
              <a:latin typeface="+mn-ea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6C4C7735-DB59-456A-FA4A-563F9EA7B4F1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１</a:t>
            </a:r>
            <a:endParaRPr lang="en-US" altLang="ja-JP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3">
            <a:extLst>
              <a:ext uri="{FF2B5EF4-FFF2-40B4-BE49-F238E27FC236}">
                <a16:creationId xmlns:a16="http://schemas.microsoft.com/office/drawing/2014/main" id="{7C1F5344-383A-B2FD-A1F4-6337B7922FFE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キーボードの切り替え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69182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16029" y="2313608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の使い方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CCD213E-C1A7-04D4-EF08-2DA1D4929E88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>
                <a:solidFill>
                  <a:srgbClr val="4472C4"/>
                </a:solidFill>
              </a:rPr>
              <a:t>2</a:t>
            </a:r>
            <a:endParaRPr kumimoji="1" lang="ja-JP" altLang="en-US" sz="8800" b="1">
              <a:solidFill>
                <a:srgbClr val="4472C4"/>
              </a:solidFill>
            </a:endParaRPr>
          </a:p>
        </p:txBody>
      </p:sp>
      <p:pic>
        <p:nvPicPr>
          <p:cNvPr id="4" name="図 3" descr="アイコン&#10;&#10;自動的に生成された説明">
            <a:extLst>
              <a:ext uri="{FF2B5EF4-FFF2-40B4-BE49-F238E27FC236}">
                <a16:creationId xmlns:a16="http://schemas.microsoft.com/office/drawing/2014/main" id="{96C07EC8-F6C2-7232-75C3-3EF4AB4968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395D60F-AF45-38D6-F9D9-20DACD98F7D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615315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２</a:t>
            </a:r>
          </a:p>
        </p:txBody>
      </p:sp>
    </p:spTree>
    <p:extLst>
      <p:ext uri="{BB962C8B-B14F-4D97-AF65-F5344CB8AC3E}">
        <p14:creationId xmlns:p14="http://schemas.microsoft.com/office/powerpoint/2010/main" val="27269107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の特徴とメリット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0697399E-4A26-3D33-E35A-83E6FE4B6F73}"/>
              </a:ext>
            </a:extLst>
          </p:cNvPr>
          <p:cNvSpPr txBox="1">
            <a:spLocks/>
          </p:cNvSpPr>
          <p:nvPr/>
        </p:nvSpPr>
        <p:spPr>
          <a:xfrm>
            <a:off x="1059758" y="4263397"/>
            <a:ext cx="6987972" cy="922492"/>
          </a:xfrm>
          <a:prstGeom prst="rect">
            <a:avLst/>
          </a:prstGeom>
          <a:ln>
            <a:noFill/>
          </a:ln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■</a:t>
            </a:r>
            <a:r>
              <a:rPr lang="en-US" altLang="ja-JP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特徴</a:t>
            </a:r>
            <a:endParaRPr lang="en-US" altLang="ja-JP" sz="2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oogle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社が提供している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無料のオンライン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サービスです。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には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oogle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が必要になります。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529BEC1F-A8AB-4DEF-96E8-DF6B76EE7341}"/>
              </a:ext>
            </a:extLst>
          </p:cNvPr>
          <p:cNvSpPr txBox="1">
            <a:spLocks/>
          </p:cNvSpPr>
          <p:nvPr/>
        </p:nvSpPr>
        <p:spPr>
          <a:xfrm>
            <a:off x="358593" y="1268413"/>
            <a:ext cx="8390303" cy="1888547"/>
          </a:xfrm>
          <a:prstGeom prst="rect">
            <a:avLst/>
          </a:prstGeom>
          <a:ln>
            <a:noFill/>
          </a:ln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は、インターネットを供給している会社や​携帯会社が提供するサービスの契約者向けに提供している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サービスと、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ジーメール）をはじめとする、​登録すれば誰でも利用できる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サービス（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eb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）等があります。</a:t>
            </a: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のメールサービスを利用することも可能です。）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C8D100-EA0D-3522-8EE1-87F850AED0B8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３</a:t>
            </a:r>
          </a:p>
        </p:txBody>
      </p:sp>
    </p:spTree>
    <p:extLst>
      <p:ext uri="{BB962C8B-B14F-4D97-AF65-F5344CB8AC3E}">
        <p14:creationId xmlns:p14="http://schemas.microsoft.com/office/powerpoint/2010/main" val="1471997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図 36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F5DA4B01-FB16-0EE3-BEAD-C31A549DDF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792" y="2366591"/>
            <a:ext cx="1993846" cy="431999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タイトル 1">
            <a:extLst>
              <a:ext uri="{FF2B5EF4-FFF2-40B4-BE49-F238E27FC236}">
                <a16:creationId xmlns:a16="http://schemas.microsoft.com/office/drawing/2014/main" id="{586A35A4-458D-F615-1157-BD36A6692E4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4CE5AB6-D4BF-6F7A-077E-31D45DF84CDA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作成しましょう</a:t>
            </a:r>
          </a:p>
          <a:p>
            <a:pPr marL="0" indent="0">
              <a:buNone/>
            </a:pP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F8120E-95F1-6C39-B56A-BF9DC0F88F2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４</a:t>
            </a:r>
          </a:p>
        </p:txBody>
      </p:sp>
      <p:cxnSp>
        <p:nvCxnSpPr>
          <p:cNvPr id="22" name="直線矢印コネクタ 21">
            <a:extLst>
              <a:ext uri="{FF2B5EF4-FFF2-40B4-BE49-F238E27FC236}">
                <a16:creationId xmlns:a16="http://schemas.microsoft.com/office/drawing/2014/main" id="{E90C8AC0-E754-30A0-9DA5-D1A28F68C3F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D43D966A-FF71-39DE-856C-AFEB72532E3F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CD26042-4815-0DEB-ED65-C95C6817746E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マーク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959DE1D2-DE2F-A9CE-8F9D-5D46FA9B6E3F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4D0A557A-8022-CF33-CA7B-98C6FC46B898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作成」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7" name="図 26">
            <a:extLst>
              <a:ext uri="{FF2B5EF4-FFF2-40B4-BE49-F238E27FC236}">
                <a16:creationId xmlns:a16="http://schemas.microsoft.com/office/drawing/2014/main" id="{F948F6BE-D3FF-6EDA-601E-0E72C78218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97839BB-95C3-D359-2729-E02FA8E3F7B1}"/>
              </a:ext>
            </a:extLst>
          </p:cNvPr>
          <p:cNvSpPr/>
          <p:nvPr/>
        </p:nvSpPr>
        <p:spPr>
          <a:xfrm>
            <a:off x="2242747" y="5970697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2" name="図 31">
            <a:extLst>
              <a:ext uri="{FF2B5EF4-FFF2-40B4-BE49-F238E27FC236}">
                <a16:creationId xmlns:a16="http://schemas.microsoft.com/office/drawing/2014/main" id="{5182559A-AD72-40F0-530E-AE0607AE8D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1697" y="1908609"/>
            <a:ext cx="373494" cy="34773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8" name="四角形: 角を丸くする 37">
            <a:extLst>
              <a:ext uri="{FF2B5EF4-FFF2-40B4-BE49-F238E27FC236}">
                <a16:creationId xmlns:a16="http://schemas.microsoft.com/office/drawing/2014/main" id="{9C6F9322-D5B0-2369-D640-5D16AF060337}"/>
              </a:ext>
            </a:extLst>
          </p:cNvPr>
          <p:cNvSpPr/>
          <p:nvPr/>
        </p:nvSpPr>
        <p:spPr>
          <a:xfrm>
            <a:off x="6877189" y="5762084"/>
            <a:ext cx="698581" cy="32329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94468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1D856F20-B47C-0F6B-6AE8-B19B294D02D8}"/>
              </a:ext>
            </a:extLst>
          </p:cNvPr>
          <p:cNvGrpSpPr/>
          <p:nvPr/>
        </p:nvGrpSpPr>
        <p:grpSpPr>
          <a:xfrm>
            <a:off x="5689792" y="2366591"/>
            <a:ext cx="1993847" cy="4320000"/>
            <a:chOff x="1582062" y="2490232"/>
            <a:chExt cx="1993847" cy="4320000"/>
          </a:xfrm>
        </p:grpSpPr>
        <p:pic>
          <p:nvPicPr>
            <p:cNvPr id="26" name="図 2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23D6F415-DF16-C7EC-80CB-3BE0B82A1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2062" y="2490232"/>
              <a:ext cx="1993847" cy="4320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7" name="図 26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4A981BC5-5696-027D-15FC-0F4D0A3435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339" b="80204"/>
            <a:stretch/>
          </p:blipFill>
          <p:spPr>
            <a:xfrm>
              <a:off x="1672552" y="3002504"/>
              <a:ext cx="1807499" cy="331200"/>
            </a:xfrm>
            <a:prstGeom prst="rect">
              <a:avLst/>
            </a:prstGeom>
            <a:ln w="9525">
              <a:noFill/>
            </a:ln>
            <a:effectLst>
              <a:softEdge rad="0"/>
            </a:effectLst>
          </p:spPr>
        </p:pic>
      </p:grpSp>
      <p:pic>
        <p:nvPicPr>
          <p:cNvPr id="23" name="図 22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9A421934-55F8-19BE-FABF-A8C51202B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662" y="2337832"/>
            <a:ext cx="1993847" cy="43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5" name="図 24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8FCA869E-C668-E176-7DB0-2CA5F4600B7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39" b="80204"/>
          <a:stretch/>
        </p:blipFill>
        <p:spPr>
          <a:xfrm>
            <a:off x="1520152" y="2850104"/>
            <a:ext cx="1807499" cy="331200"/>
          </a:xfrm>
          <a:prstGeom prst="rect">
            <a:avLst/>
          </a:prstGeom>
          <a:ln w="9525">
            <a:noFill/>
          </a:ln>
          <a:effectLst>
            <a:softEdge rad="0"/>
          </a:effec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タイトル 1">
            <a:extLst>
              <a:ext uri="{FF2B5EF4-FFF2-40B4-BE49-F238E27FC236}">
                <a16:creationId xmlns:a16="http://schemas.microsoft.com/office/drawing/2014/main" id="{586A35A4-458D-F615-1157-BD36A6692E4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4CE5AB6-D4BF-6F7A-077E-31D45DF84CDA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作成しましょう</a:t>
            </a:r>
          </a:p>
          <a:p>
            <a:pPr marL="0" indent="0">
              <a:buNone/>
            </a:pP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D2A9926-FB5D-1CD1-D370-1712855352E7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５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39625E2F-2501-B091-1A88-DF57A153322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E1D00C2-68AB-624A-7179-9D3FF48FF0C2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1CCA6CE-29DA-243B-CB39-A40852B9E7C6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宛先のメールアドレスを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力し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E18B6A0-1C70-E3EF-4EC6-F745984BDBEF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D78845DC-8BBD-F23F-DF73-E8D307ED279B}"/>
              </a:ext>
            </a:extLst>
          </p:cNvPr>
          <p:cNvSpPr txBox="1"/>
          <p:nvPr/>
        </p:nvSpPr>
        <p:spPr>
          <a:xfrm>
            <a:off x="5607128" y="1529829"/>
            <a:ext cx="3504237" cy="72205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件名」を入力します</a:t>
            </a:r>
          </a:p>
          <a:p>
            <a:pPr>
              <a:lnSpc>
                <a:spcPct val="130000"/>
              </a:lnSpc>
            </a:pPr>
            <a:r>
              <a:rPr lang="en-US" altLang="ja-JP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件名の入力は必須ではありません</a:t>
            </a: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FAC81923-1C54-3855-44D1-BF85C0A0D36B}"/>
              </a:ext>
            </a:extLst>
          </p:cNvPr>
          <p:cNvSpPr/>
          <p:nvPr/>
        </p:nvSpPr>
        <p:spPr>
          <a:xfrm>
            <a:off x="2242747" y="5970697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B9D1561F-1932-EF86-CEED-5D8F47182856}"/>
              </a:ext>
            </a:extLst>
          </p:cNvPr>
          <p:cNvSpPr/>
          <p:nvPr/>
        </p:nvSpPr>
        <p:spPr>
          <a:xfrm>
            <a:off x="1404196" y="3205553"/>
            <a:ext cx="2052000" cy="27093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D5BAC60-ADEF-7AE1-1A2F-B79EEB076188}"/>
              </a:ext>
            </a:extLst>
          </p:cNvPr>
          <p:cNvSpPr/>
          <p:nvPr/>
        </p:nvSpPr>
        <p:spPr>
          <a:xfrm>
            <a:off x="5655256" y="3550996"/>
            <a:ext cx="2052000" cy="27093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4901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D1A99BC7-B9AD-9243-C74C-5F80E1016B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095" y="2339524"/>
            <a:ext cx="1990064" cy="431999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38543913-2398-5CB1-DB45-39122E4ED521}"/>
              </a:ext>
            </a:extLst>
          </p:cNvPr>
          <p:cNvGrpSpPr/>
          <p:nvPr/>
        </p:nvGrpSpPr>
        <p:grpSpPr>
          <a:xfrm>
            <a:off x="5693779" y="2367309"/>
            <a:ext cx="1989860" cy="4319282"/>
            <a:chOff x="5717178" y="2411894"/>
            <a:chExt cx="1807499" cy="3936645"/>
          </a:xfrm>
        </p:grpSpPr>
        <p:pic>
          <p:nvPicPr>
            <p:cNvPr id="35" name="図 34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E0EC3E4A-8918-E32E-E821-FC66BDF26A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521"/>
            <a:stretch/>
          </p:blipFill>
          <p:spPr>
            <a:xfrm>
              <a:off x="5717178" y="2411894"/>
              <a:ext cx="1807499" cy="393664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490834F2-368E-61CF-7834-2A9503391A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30040" y="2574135"/>
              <a:ext cx="253331" cy="25333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7" name="円/楕円 43">
              <a:extLst>
                <a:ext uri="{FF2B5EF4-FFF2-40B4-BE49-F238E27FC236}">
                  <a16:creationId xmlns:a16="http://schemas.microsoft.com/office/drawing/2014/main" id="{E905FDB9-D011-035D-B37D-8468E97A4B9F}"/>
                </a:ext>
              </a:extLst>
            </p:cNvPr>
            <p:cNvSpPr/>
            <p:nvPr/>
          </p:nvSpPr>
          <p:spPr>
            <a:xfrm>
              <a:off x="6692297" y="2485175"/>
              <a:ext cx="270974" cy="266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1" name="図 40">
              <a:extLst>
                <a:ext uri="{FF2B5EF4-FFF2-40B4-BE49-F238E27FC236}">
                  <a16:creationId xmlns:a16="http://schemas.microsoft.com/office/drawing/2014/main" id="{5DAB4234-7C99-DF47-1403-FDE3746900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433" t="31741" r="40548" b="54130"/>
            <a:stretch/>
          </p:blipFill>
          <p:spPr>
            <a:xfrm>
              <a:off x="5790250" y="3834583"/>
              <a:ext cx="1669265" cy="750117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タイトル 1">
            <a:extLst>
              <a:ext uri="{FF2B5EF4-FFF2-40B4-BE49-F238E27FC236}">
                <a16:creationId xmlns:a16="http://schemas.microsoft.com/office/drawing/2014/main" id="{1C78BBA5-5B6F-B4D5-5307-520F35F7EEB8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" name="タイトル 1">
            <a:extLst>
              <a:ext uri="{FF2B5EF4-FFF2-40B4-BE49-F238E27FC236}">
                <a16:creationId xmlns:a16="http://schemas.microsoft.com/office/drawing/2014/main" id="{4CDFB125-2AE3-F105-6468-DC0B7B2DF78E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29" name="字幕 14">
            <a:extLst>
              <a:ext uri="{FF2B5EF4-FFF2-40B4-BE49-F238E27FC236}">
                <a16:creationId xmlns:a16="http://schemas.microsoft.com/office/drawing/2014/main" id="{9D09665D-D0F9-6188-8327-06796C005864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作成しましょう</a:t>
            </a:r>
          </a:p>
          <a:p>
            <a:pPr marL="0" indent="0">
              <a:buNone/>
            </a:pPr>
            <a:endParaRPr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9A38D19-5DE2-3923-B293-90982B0C0410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６</a:t>
            </a:r>
          </a:p>
        </p:txBody>
      </p:sp>
      <p:cxnSp>
        <p:nvCxnSpPr>
          <p:cNvPr id="4" name="直線矢印コネクタ 3">
            <a:extLst>
              <a:ext uri="{FF2B5EF4-FFF2-40B4-BE49-F238E27FC236}">
                <a16:creationId xmlns:a16="http://schemas.microsoft.com/office/drawing/2014/main" id="{2CB59757-9BE9-A678-1236-934C2E1B99F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D182A7AB-A3FB-44F2-3A5D-296A2426475B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68B1ABB-58AA-9BBE-6124-FCBD6E47E7B7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本文を作成し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6A2BAB5-C9FC-7345-1C5F-9685BE305A5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F040512-6806-B1F3-A6C3-9A8C241F4003}"/>
              </a:ext>
            </a:extLst>
          </p:cNvPr>
          <p:cNvSpPr txBox="1"/>
          <p:nvPr/>
        </p:nvSpPr>
        <p:spPr>
          <a:xfrm>
            <a:off x="5607128" y="1512998"/>
            <a:ext cx="3504237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が完了したら画面右上の 　　ボタン　　　を押すと送信されます</a:t>
            </a: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893045BD-CFEB-5733-AEEB-44922DF3D891}"/>
              </a:ext>
            </a:extLst>
          </p:cNvPr>
          <p:cNvSpPr/>
          <p:nvPr/>
        </p:nvSpPr>
        <p:spPr>
          <a:xfrm>
            <a:off x="2242747" y="5970697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4F383856-9D7A-26A4-FF4F-231C180E1F38}"/>
              </a:ext>
            </a:extLst>
          </p:cNvPr>
          <p:cNvSpPr/>
          <p:nvPr/>
        </p:nvSpPr>
        <p:spPr>
          <a:xfrm>
            <a:off x="1310309" y="3689539"/>
            <a:ext cx="2240184" cy="950940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2" name="図 41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A5084FB5-740D-C1DC-EE66-578E84E20B1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580" t="6004" r="14850" b="90627"/>
          <a:stretch/>
        </p:blipFill>
        <p:spPr>
          <a:xfrm>
            <a:off x="6404963" y="1971777"/>
            <a:ext cx="328456" cy="226783"/>
          </a:xfrm>
          <a:prstGeom prst="rect">
            <a:avLst/>
          </a:prstGeom>
          <a:ln w="9525">
            <a:noFill/>
          </a:ln>
        </p:spPr>
      </p:pic>
      <p:pic>
        <p:nvPicPr>
          <p:cNvPr id="43" name="図 42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8D78A6FF-0B3B-C5BB-60D2-0CAF816B74B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39" b="80204"/>
          <a:stretch/>
        </p:blipFill>
        <p:spPr>
          <a:xfrm>
            <a:off x="1520152" y="2850104"/>
            <a:ext cx="1807499" cy="331200"/>
          </a:xfrm>
          <a:prstGeom prst="rect">
            <a:avLst/>
          </a:prstGeom>
          <a:ln w="9525">
            <a:noFill/>
          </a:ln>
          <a:effectLst>
            <a:softEdge rad="0"/>
          </a:effectLst>
        </p:spPr>
      </p:pic>
      <p:pic>
        <p:nvPicPr>
          <p:cNvPr id="44" name="図 43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6085582D-7152-785D-885F-21FE04042C6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39" b="80204"/>
          <a:stretch/>
        </p:blipFill>
        <p:spPr>
          <a:xfrm>
            <a:off x="5780282" y="2878863"/>
            <a:ext cx="1807499" cy="331200"/>
          </a:xfrm>
          <a:prstGeom prst="rect">
            <a:avLst/>
          </a:prstGeom>
          <a:ln w="9525"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317438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文字の書かれた紙&#10;&#10;中程度の精度で自動的に生成された説明">
            <a:extLst>
              <a:ext uri="{FF2B5EF4-FFF2-40B4-BE49-F238E27FC236}">
                <a16:creationId xmlns:a16="http://schemas.microsoft.com/office/drawing/2014/main" id="{E1D783AA-EFF0-1585-40EA-6E35012E36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385" y="2366591"/>
            <a:ext cx="1993847" cy="4320001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2" name="図 2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E156FF5-E085-AD40-975D-4D8F0EA618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39" y="2330026"/>
            <a:ext cx="1993847" cy="43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タイトル 1">
            <a:extLst>
              <a:ext uri="{FF2B5EF4-FFF2-40B4-BE49-F238E27FC236}">
                <a16:creationId xmlns:a16="http://schemas.microsoft.com/office/drawing/2014/main" id="{D751D251-0DE9-E9CB-66B6-3618E6BFEA81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E198C98C-A726-F1DE-D6D7-0010651AE487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b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可否の確認方法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1E2D2C-31BB-95F7-1658-02B0118D08C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７</a:t>
            </a:r>
          </a:p>
        </p:txBody>
      </p: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710A6115-024B-805A-88EF-2092FE643503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BF58992-7272-3DA3-C86E-EC1BD3F05EF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6DFC3AF-C77F-7D9F-13BA-0EC4FD4E7705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メールを検索」の左側の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ボタン　　を押します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D0F571E6-73C6-1E28-E0DE-E6998F2CB48A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958F2DD-A535-9938-3A59-136329026971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済み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75827DD4-933F-8356-A514-C906315C92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65794" y="1980206"/>
            <a:ext cx="248467" cy="229832"/>
          </a:xfrm>
          <a:prstGeom prst="rect">
            <a:avLst/>
          </a:prstGeom>
          <a:ln>
            <a:noFill/>
          </a:ln>
          <a:effectLst/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1EC50103-F842-02AB-349B-746F337927AA}"/>
              </a:ext>
            </a:extLst>
          </p:cNvPr>
          <p:cNvSpPr>
            <a:spLocks noChangeAspect="1"/>
          </p:cNvSpPr>
          <p:nvPr/>
        </p:nvSpPr>
        <p:spPr>
          <a:xfrm>
            <a:off x="1487345" y="2504510"/>
            <a:ext cx="359716" cy="35971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C93586D-069B-54E7-BB74-20E7F092379C}"/>
              </a:ext>
            </a:extLst>
          </p:cNvPr>
          <p:cNvSpPr>
            <a:spLocks noChangeAspect="1"/>
          </p:cNvSpPr>
          <p:nvPr/>
        </p:nvSpPr>
        <p:spPr>
          <a:xfrm>
            <a:off x="5692462" y="4475925"/>
            <a:ext cx="1682895" cy="300612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4693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E8254AE2-33AF-6B47-E9DA-D4F0060579B4}"/>
              </a:ext>
            </a:extLst>
          </p:cNvPr>
          <p:cNvSpPr txBox="1">
            <a:spLocks/>
          </p:cNvSpPr>
          <p:nvPr/>
        </p:nvSpPr>
        <p:spPr>
          <a:xfrm>
            <a:off x="2109621" y="908050"/>
            <a:ext cx="6613460" cy="40555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1" dirty="0">
                <a:solidFill>
                  <a:schemeClr val="accent1"/>
                </a:solidFill>
                <a:latin typeface="+mn-ea"/>
              </a:rPr>
              <a:t>１．文字入力の仕方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4636C181-5433-4354-D08C-1C8CB8724D14}"/>
              </a:ext>
            </a:extLst>
          </p:cNvPr>
          <p:cNvSpPr txBox="1">
            <a:spLocks/>
          </p:cNvSpPr>
          <p:nvPr/>
        </p:nvSpPr>
        <p:spPr>
          <a:xfrm>
            <a:off x="2109620" y="2816225"/>
            <a:ext cx="6613463" cy="4616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2400" b="1" dirty="0">
                <a:solidFill>
                  <a:schemeClr val="accent1"/>
                </a:solidFill>
                <a:latin typeface="+mn-ea"/>
              </a:rPr>
              <a:t>2</a:t>
            </a:r>
            <a:r>
              <a:rPr lang="ja-JP" altLang="en-US" sz="2400" b="1" dirty="0">
                <a:solidFill>
                  <a:schemeClr val="accent1"/>
                </a:solidFill>
                <a:latin typeface="+mn-ea"/>
              </a:rPr>
              <a:t>．メールの使い方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4605D56C-6CE2-6F4A-EE8A-A3BBD5122FE3}"/>
              </a:ext>
            </a:extLst>
          </p:cNvPr>
          <p:cNvGrpSpPr/>
          <p:nvPr/>
        </p:nvGrpSpPr>
        <p:grpSpPr>
          <a:xfrm>
            <a:off x="2147118" y="1194337"/>
            <a:ext cx="6866249" cy="1363585"/>
            <a:chOff x="2147118" y="1313605"/>
            <a:chExt cx="6866249" cy="1363585"/>
          </a:xfrm>
        </p:grpSpPr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020AB875-436F-0888-5150-90666F065C2E}"/>
                </a:ext>
              </a:extLst>
            </p:cNvPr>
            <p:cNvSpPr/>
            <p:nvPr/>
          </p:nvSpPr>
          <p:spPr>
            <a:xfrm>
              <a:off x="2822710" y="1315495"/>
              <a:ext cx="6190657" cy="1359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文字入力の仕方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２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文字の訂正方法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５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キーボードの切り替え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８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29D4F20-1961-B217-A195-3B5F9E3F6621}"/>
                </a:ext>
              </a:extLst>
            </p:cNvPr>
            <p:cNvSpPr/>
            <p:nvPr/>
          </p:nvSpPr>
          <p:spPr>
            <a:xfrm>
              <a:off x="2147118" y="1313605"/>
              <a:ext cx="675592" cy="1363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-A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-B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-C</a:t>
              </a:r>
            </a:p>
          </p:txBody>
        </p: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066A821C-DF03-A823-6463-D649A5FE730E}"/>
              </a:ext>
            </a:extLst>
          </p:cNvPr>
          <p:cNvGrpSpPr/>
          <p:nvPr/>
        </p:nvGrpSpPr>
        <p:grpSpPr>
          <a:xfrm>
            <a:off x="2147119" y="3277880"/>
            <a:ext cx="6866248" cy="2771044"/>
            <a:chOff x="2147119" y="3277880"/>
            <a:chExt cx="6866248" cy="2771044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BA6FA86A-2326-1164-D3A9-73C0F27887C3}"/>
                </a:ext>
              </a:extLst>
            </p:cNvPr>
            <p:cNvSpPr/>
            <p:nvPr/>
          </p:nvSpPr>
          <p:spPr>
            <a:xfrm>
              <a:off x="2822709" y="3281660"/>
              <a:ext cx="6190658" cy="27672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Gmail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の特徴とメリット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３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Gmail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でメールを作成してみ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４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メールに画像を添付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２１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Gmail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で受信メールを確認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２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3</a:t>
              </a: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受信したメールに返信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５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受信したメールの画像を保存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７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詐欺メールにご用心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９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FCCDA4FA-828B-0936-2233-D4152055FDAD}"/>
                </a:ext>
              </a:extLst>
            </p:cNvPr>
            <p:cNvSpPr/>
            <p:nvPr/>
          </p:nvSpPr>
          <p:spPr>
            <a:xfrm>
              <a:off x="2147119" y="3277880"/>
              <a:ext cx="675590" cy="27672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A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B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C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D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E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F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7843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 descr="スクリーンショットの画面&#10;&#10;自動的に生成された説明">
            <a:extLst>
              <a:ext uri="{FF2B5EF4-FFF2-40B4-BE49-F238E27FC236}">
                <a16:creationId xmlns:a16="http://schemas.microsoft.com/office/drawing/2014/main" id="{A86DFD34-CEB5-8E06-D777-7C9A76F1CB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53" y="2411992"/>
            <a:ext cx="1993847" cy="43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タイトル 1">
            <a:extLst>
              <a:ext uri="{FF2B5EF4-FFF2-40B4-BE49-F238E27FC236}">
                <a16:creationId xmlns:a16="http://schemas.microsoft.com/office/drawing/2014/main" id="{D751D251-0DE9-E9CB-66B6-3618E6BFEA81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E198C98C-A726-F1DE-D6D7-0010651AE487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b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可否の確認方法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FEC9C09-3A56-B0CB-F650-99530BEA2484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８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D212D2F8-2F36-5C78-C78A-42E6C51AA434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9AD871A5-6AC5-9AE5-1129-169F12DA0059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送信済みのメールが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一覧で表示されます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51CAD91B-0A15-0E14-7624-06B2092625CD}"/>
              </a:ext>
            </a:extLst>
          </p:cNvPr>
          <p:cNvSpPr>
            <a:spLocks/>
          </p:cNvSpPr>
          <p:nvPr/>
        </p:nvSpPr>
        <p:spPr>
          <a:xfrm>
            <a:off x="3420237" y="4251350"/>
            <a:ext cx="2303525" cy="723994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16928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5C27BE6-E432-41E0-65AD-70F3CF0960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7933" y="2337833"/>
            <a:ext cx="1993846" cy="431999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5" name="図 24" descr="グラフ&#10;&#10;低い精度で自動的に生成された説明">
            <a:extLst>
              <a:ext uri="{FF2B5EF4-FFF2-40B4-BE49-F238E27FC236}">
                <a16:creationId xmlns:a16="http://schemas.microsoft.com/office/drawing/2014/main" id="{E3320998-2F8F-89B8-B143-13587F3833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792" y="2366591"/>
            <a:ext cx="1993846" cy="431999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字幕 14">
            <a:extLst>
              <a:ext uri="{FF2B5EF4-FFF2-40B4-BE49-F238E27FC236}">
                <a16:creationId xmlns:a16="http://schemas.microsoft.com/office/drawing/2014/main" id="{37193872-79CB-50BB-969A-AB989CCCCEA4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帳（連絡先）からメールを作成する方法</a:t>
            </a:r>
          </a:p>
          <a:p>
            <a:pPr marL="0" indent="0">
              <a:buNone/>
            </a:pPr>
            <a:endParaRPr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461C8B3-1DF2-BC9D-A1E6-6FFBD589EDDF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９</a:t>
            </a: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B9B8144E-8301-A1D2-0CCD-1E598B607A70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2110FAC1-46ED-BB78-1855-48728EE74E6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DA97139F-12F9-28C9-02BA-960E12512A57}"/>
              </a:ext>
            </a:extLst>
          </p:cNvPr>
          <p:cNvSpPr txBox="1"/>
          <p:nvPr/>
        </p:nvSpPr>
        <p:spPr>
          <a:xfrm>
            <a:off x="1412434" y="1512998"/>
            <a:ext cx="3432311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から電話機能を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起動し、連絡先一覧を表示します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26D96EC-5EB4-DE76-80A3-984E1E495828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1AE706C7-A96C-C41C-A7B5-896D8C8B12DC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送信する相手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覧から選び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9BDD42-10F4-ECC5-1C24-4B2FA3055964}"/>
              </a:ext>
            </a:extLst>
          </p:cNvPr>
          <p:cNvSpPr/>
          <p:nvPr/>
        </p:nvSpPr>
        <p:spPr>
          <a:xfrm>
            <a:off x="2859571" y="6029531"/>
            <a:ext cx="441708" cy="393677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円/楕円 52">
            <a:extLst>
              <a:ext uri="{FF2B5EF4-FFF2-40B4-BE49-F238E27FC236}">
                <a16:creationId xmlns:a16="http://schemas.microsoft.com/office/drawing/2014/main" id="{22C7B5F2-091F-22F1-1E8F-CA801CE297A1}"/>
              </a:ext>
            </a:extLst>
          </p:cNvPr>
          <p:cNvSpPr/>
          <p:nvPr/>
        </p:nvSpPr>
        <p:spPr>
          <a:xfrm>
            <a:off x="6534089" y="5331845"/>
            <a:ext cx="291600" cy="2916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868C5656-A418-E67E-306C-5E4E62A85EE0}"/>
              </a:ext>
            </a:extLst>
          </p:cNvPr>
          <p:cNvSpPr/>
          <p:nvPr/>
        </p:nvSpPr>
        <p:spPr>
          <a:xfrm>
            <a:off x="6048711" y="4481044"/>
            <a:ext cx="1073984" cy="291600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43752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AE581C7E-216E-C792-F923-69C77C9DB23B}"/>
              </a:ext>
            </a:extLst>
          </p:cNvPr>
          <p:cNvGrpSpPr/>
          <p:nvPr/>
        </p:nvGrpSpPr>
        <p:grpSpPr>
          <a:xfrm>
            <a:off x="5298261" y="2366591"/>
            <a:ext cx="2373346" cy="4319526"/>
            <a:chOff x="5377791" y="2652194"/>
            <a:chExt cx="1993609" cy="3586074"/>
          </a:xfrm>
        </p:grpSpPr>
        <p:pic>
          <p:nvPicPr>
            <p:cNvPr id="32" name="図 31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5203D246-237F-76AE-CDAF-BDFEADA01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2012" y="2652194"/>
              <a:ext cx="1655111" cy="3586074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3" name="四角形: 角を丸くする 32">
              <a:extLst>
                <a:ext uri="{FF2B5EF4-FFF2-40B4-BE49-F238E27FC236}">
                  <a16:creationId xmlns:a16="http://schemas.microsoft.com/office/drawing/2014/main" id="{224756C4-5905-1A2B-56B3-9EF8151CFA02}"/>
                </a:ext>
              </a:extLst>
            </p:cNvPr>
            <p:cNvSpPr/>
            <p:nvPr/>
          </p:nvSpPr>
          <p:spPr>
            <a:xfrm>
              <a:off x="6730775" y="5277861"/>
              <a:ext cx="415866" cy="461663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4" name="円/楕円 55">
              <a:extLst>
                <a:ext uri="{FF2B5EF4-FFF2-40B4-BE49-F238E27FC236}">
                  <a16:creationId xmlns:a16="http://schemas.microsoft.com/office/drawing/2014/main" id="{99401A1F-02FE-7171-481F-24C6280FE97C}"/>
                </a:ext>
              </a:extLst>
            </p:cNvPr>
            <p:cNvSpPr/>
            <p:nvPr/>
          </p:nvSpPr>
          <p:spPr>
            <a:xfrm>
              <a:off x="5377791" y="4457390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5" name="円/楕円 52">
              <a:extLst>
                <a:ext uri="{FF2B5EF4-FFF2-40B4-BE49-F238E27FC236}">
                  <a16:creationId xmlns:a16="http://schemas.microsoft.com/office/drawing/2014/main" id="{76842B31-57EB-500D-AD64-4B68DAA14E6F}"/>
                </a:ext>
              </a:extLst>
            </p:cNvPr>
            <p:cNvSpPr/>
            <p:nvPr/>
          </p:nvSpPr>
          <p:spPr>
            <a:xfrm>
              <a:off x="6430977" y="5234454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36" name="図 35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C2236757-D3EE-2C05-41D9-CBA9E0D2ED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718" b="35481"/>
            <a:stretch/>
          </p:blipFill>
          <p:spPr>
            <a:xfrm>
              <a:off x="5716289" y="3873501"/>
              <a:ext cx="1655111" cy="1104553"/>
            </a:xfrm>
            <a:prstGeom prst="rect">
              <a:avLst/>
            </a:prstGeom>
            <a:ln w="9525">
              <a:noFill/>
            </a:ln>
          </p:spPr>
        </p:pic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17AACA63-E050-F714-D23C-67646226A233}"/>
              </a:ext>
            </a:extLst>
          </p:cNvPr>
          <p:cNvGrpSpPr/>
          <p:nvPr/>
        </p:nvGrpSpPr>
        <p:grpSpPr>
          <a:xfrm>
            <a:off x="1235336" y="2330494"/>
            <a:ext cx="2374138" cy="4319530"/>
            <a:chOff x="1410756" y="2652195"/>
            <a:chExt cx="1978551" cy="3586073"/>
          </a:xfrm>
        </p:grpSpPr>
        <p:pic>
          <p:nvPicPr>
            <p:cNvPr id="26" name="図 25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6F133DBD-5F93-0648-64E0-8DAEF41D4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8689" y="2652195"/>
              <a:ext cx="1661625" cy="35860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7" name="図 26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E2B95C1A-729C-DA6C-F671-4445B0BA82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718" b="35481"/>
            <a:stretch/>
          </p:blipFill>
          <p:spPr>
            <a:xfrm>
              <a:off x="1575203" y="3873501"/>
              <a:ext cx="1655111" cy="1104553"/>
            </a:xfrm>
            <a:prstGeom prst="rect">
              <a:avLst/>
            </a:prstGeom>
            <a:ln>
              <a:noFill/>
            </a:ln>
          </p:spPr>
        </p:pic>
        <p:sp>
          <p:nvSpPr>
            <p:cNvPr id="29" name="四角形: 角を丸くする 28">
              <a:extLst>
                <a:ext uri="{FF2B5EF4-FFF2-40B4-BE49-F238E27FC236}">
                  <a16:creationId xmlns:a16="http://schemas.microsoft.com/office/drawing/2014/main" id="{6200EE01-DDAF-B15E-A012-C50567DB0B04}"/>
                </a:ext>
              </a:extLst>
            </p:cNvPr>
            <p:cNvSpPr/>
            <p:nvPr/>
          </p:nvSpPr>
          <p:spPr>
            <a:xfrm>
              <a:off x="1410756" y="4467915"/>
              <a:ext cx="1978551" cy="558615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4E354D5F-4C90-6B89-A390-6CE754A1DB08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帳（連絡先）からメールを作成する方法</a:t>
            </a:r>
          </a:p>
          <a:p>
            <a:pPr marL="0" indent="0">
              <a:buNone/>
            </a:pPr>
            <a:endParaRPr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782030-8B8A-5171-CF7B-A721121B3A3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０</a:t>
            </a:r>
          </a:p>
        </p:txBody>
      </p: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E384873F-3028-FC55-8660-1F338C4A9EE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D1586E2-ECC9-7AB0-967F-ABEAD9AD4FCA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DCDF24C-1766-3AD5-1E67-9CF5BE931CE5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メールアドレスを押すと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メールの作成ができ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67A8A63C-A578-F95D-275F-49A1B55F913B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8D24091-9602-CD53-6BFD-27BE6539D420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に使用するアプリは</a:t>
            </a:r>
          </a:p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Gmail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選択します</a:t>
            </a:r>
          </a:p>
        </p:txBody>
      </p:sp>
    </p:spTree>
    <p:extLst>
      <p:ext uri="{BB962C8B-B14F-4D97-AF65-F5344CB8AC3E}">
        <p14:creationId xmlns:p14="http://schemas.microsoft.com/office/powerpoint/2010/main" val="11827139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5" name="グループ化 7174">
            <a:extLst>
              <a:ext uri="{FF2B5EF4-FFF2-40B4-BE49-F238E27FC236}">
                <a16:creationId xmlns:a16="http://schemas.microsoft.com/office/drawing/2014/main" id="{DB3A46B9-3D03-99A7-89A6-63C714B332D1}"/>
              </a:ext>
            </a:extLst>
          </p:cNvPr>
          <p:cNvGrpSpPr/>
          <p:nvPr/>
        </p:nvGrpSpPr>
        <p:grpSpPr>
          <a:xfrm>
            <a:off x="5607129" y="2339072"/>
            <a:ext cx="2208622" cy="4320000"/>
            <a:chOff x="5505508" y="2260818"/>
            <a:chExt cx="1896777" cy="3849399"/>
          </a:xfrm>
        </p:grpSpPr>
        <p:pic>
          <p:nvPicPr>
            <p:cNvPr id="7176" name="図 7175" descr="テーブル&#10;&#10;自動的に生成された説明">
              <a:extLst>
                <a:ext uri="{FF2B5EF4-FFF2-40B4-BE49-F238E27FC236}">
                  <a16:creationId xmlns:a16="http://schemas.microsoft.com/office/drawing/2014/main" id="{428ED4D3-3809-F865-341A-88CD490DDF2A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3092" y="2260818"/>
              <a:ext cx="1712802" cy="38493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7177" name="正方形/長方形 7176">
              <a:extLst>
                <a:ext uri="{FF2B5EF4-FFF2-40B4-BE49-F238E27FC236}">
                  <a16:creationId xmlns:a16="http://schemas.microsoft.com/office/drawing/2014/main" id="{D830D200-4344-0785-A326-5575D707B315}"/>
                </a:ext>
              </a:extLst>
            </p:cNvPr>
            <p:cNvSpPr>
              <a:spLocks/>
            </p:cNvSpPr>
            <p:nvPr/>
          </p:nvSpPr>
          <p:spPr>
            <a:xfrm>
              <a:off x="5505508" y="4064831"/>
              <a:ext cx="1896777" cy="404399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C8FA07D9-B4A7-03BE-505E-9DB53835BA6A}"/>
              </a:ext>
            </a:extLst>
          </p:cNvPr>
          <p:cNvGrpSpPr/>
          <p:nvPr/>
        </p:nvGrpSpPr>
        <p:grpSpPr>
          <a:xfrm>
            <a:off x="1427933" y="2330028"/>
            <a:ext cx="1993846" cy="4319998"/>
            <a:chOff x="1114230" y="2767220"/>
            <a:chExt cx="2261946" cy="4932685"/>
          </a:xfrm>
        </p:grpSpPr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C9682E80-334F-82DB-EFDF-2DE0BB1446BE}"/>
                </a:ext>
              </a:extLst>
            </p:cNvPr>
            <p:cNvGrpSpPr/>
            <p:nvPr/>
          </p:nvGrpSpPr>
          <p:grpSpPr>
            <a:xfrm>
              <a:off x="1117985" y="2777179"/>
              <a:ext cx="2248199" cy="3055101"/>
              <a:chOff x="479696" y="2936669"/>
              <a:chExt cx="2248199" cy="3055101"/>
            </a:xfrm>
          </p:grpSpPr>
          <p:pic>
            <p:nvPicPr>
              <p:cNvPr id="7169" name="図 7168" descr="スクリーンショットの画面&#10;&#10;自動的に生成された説明">
                <a:extLst>
                  <a:ext uri="{FF2B5EF4-FFF2-40B4-BE49-F238E27FC236}">
                    <a16:creationId xmlns:a16="http://schemas.microsoft.com/office/drawing/2014/main" id="{E47116C7-7B00-39DA-DF22-B063203EF95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b="38849"/>
              <a:stretch/>
            </p:blipFill>
            <p:spPr>
              <a:xfrm>
                <a:off x="479696" y="2936669"/>
                <a:ext cx="2248199" cy="3055101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7170" name="図 7169">
                <a:extLst>
                  <a:ext uri="{FF2B5EF4-FFF2-40B4-BE49-F238E27FC236}">
                    <a16:creationId xmlns:a16="http://schemas.microsoft.com/office/drawing/2014/main" id="{9A3DD0EE-17A4-4CBB-8C3F-2C715AF31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4083" y="5524769"/>
                <a:ext cx="1803496" cy="467001"/>
              </a:xfrm>
              <a:prstGeom prst="rect">
                <a:avLst/>
              </a:prstGeom>
            </p:spPr>
          </p:pic>
          <p:sp>
            <p:nvSpPr>
              <p:cNvPr id="7171" name="楕円 7170">
                <a:extLst>
                  <a:ext uri="{FF2B5EF4-FFF2-40B4-BE49-F238E27FC236}">
                    <a16:creationId xmlns:a16="http://schemas.microsoft.com/office/drawing/2014/main" id="{A041914B-6F01-871F-B4B7-C9CE1326B07B}"/>
                  </a:ext>
                </a:extLst>
              </p:cNvPr>
              <p:cNvSpPr/>
              <p:nvPr/>
            </p:nvSpPr>
            <p:spPr>
              <a:xfrm>
                <a:off x="740121" y="3902118"/>
                <a:ext cx="173757" cy="1822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pic>
            <p:nvPicPr>
              <p:cNvPr id="7172" name="図 7171">
                <a:extLst>
                  <a:ext uri="{FF2B5EF4-FFF2-40B4-BE49-F238E27FC236}">
                    <a16:creationId xmlns:a16="http://schemas.microsoft.com/office/drawing/2014/main" id="{6C071F06-0D80-3D44-ECD6-EC44F6AA0A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49376" y="3531575"/>
                <a:ext cx="1562384" cy="249288"/>
              </a:xfrm>
              <a:prstGeom prst="rect">
                <a:avLst/>
              </a:prstGeom>
            </p:spPr>
          </p:pic>
        </p:grpSp>
        <p:pic>
          <p:nvPicPr>
            <p:cNvPr id="26" name="図 2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518CF550-EEFE-C55F-CBF6-BB6013D924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48"/>
            <a:stretch/>
          </p:blipFill>
          <p:spPr>
            <a:xfrm>
              <a:off x="1114230" y="2767220"/>
              <a:ext cx="2261946" cy="493268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F22F5848-FBE5-79CA-0D68-4D1DE21E65A5}"/>
                </a:ext>
              </a:extLst>
            </p:cNvPr>
            <p:cNvSpPr>
              <a:spLocks/>
            </p:cNvSpPr>
            <p:nvPr/>
          </p:nvSpPr>
          <p:spPr>
            <a:xfrm>
              <a:off x="2516807" y="3044351"/>
              <a:ext cx="229598" cy="2251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29" name="図 28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171BA152-CA0B-A9C3-FFE9-2FF6FEC01C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295" t="4864" b="74662"/>
            <a:stretch/>
          </p:blipFill>
          <p:spPr>
            <a:xfrm>
              <a:off x="2097278" y="3788242"/>
              <a:ext cx="1258618" cy="91975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152BD608-DA02-FA9D-A6E1-20DD708D2E97}"/>
                </a:ext>
              </a:extLst>
            </p:cNvPr>
            <p:cNvSpPr>
              <a:spLocks/>
            </p:cNvSpPr>
            <p:nvPr/>
          </p:nvSpPr>
          <p:spPr>
            <a:xfrm>
              <a:off x="2115937" y="3747208"/>
              <a:ext cx="1236929" cy="364582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1" name="直線矢印コネクタ 30">
              <a:extLst>
                <a:ext uri="{FF2B5EF4-FFF2-40B4-BE49-F238E27FC236}">
                  <a16:creationId xmlns:a16="http://schemas.microsoft.com/office/drawing/2014/main" id="{7EB53478-A6A0-0169-EAD2-C8F6951DA5AC}"/>
                </a:ext>
              </a:extLst>
            </p:cNvPr>
            <p:cNvCxnSpPr>
              <a:cxnSpLocks/>
            </p:cNvCxnSpPr>
            <p:nvPr/>
          </p:nvCxnSpPr>
          <p:spPr>
            <a:xfrm>
              <a:off x="2653555" y="3297373"/>
              <a:ext cx="0" cy="445255"/>
            </a:xfrm>
            <a:prstGeom prst="straightConnector1">
              <a:avLst/>
            </a:prstGeom>
            <a:ln w="57150">
              <a:solidFill>
                <a:schemeClr val="accent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68" name="図 7167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C3F02DD-54F4-DC16-3C94-E0F32351AF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1618188" y="3320671"/>
              <a:ext cx="611798" cy="332601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タイトル 1">
            <a:extLst>
              <a:ext uri="{FF2B5EF4-FFF2-40B4-BE49-F238E27FC236}">
                <a16:creationId xmlns:a16="http://schemas.microsoft.com/office/drawing/2014/main" id="{0C603594-DF91-F35F-367A-589CC9713499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メールに画像を添付し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C2494E7E-84F3-8A74-8D7B-BEE125DF70AA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画像を付けて送りましょう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09036E4-79E6-FA14-2852-F57B1325A05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１</a:t>
            </a:r>
          </a:p>
        </p:txBody>
      </p:sp>
      <p:cxnSp>
        <p:nvCxnSpPr>
          <p:cNvPr id="12" name="直線矢印コネクタ 11">
            <a:extLst>
              <a:ext uri="{FF2B5EF4-FFF2-40B4-BE49-F238E27FC236}">
                <a16:creationId xmlns:a16="http://schemas.microsoft.com/office/drawing/2014/main" id="{A2B692B0-0E48-DDFE-5E6B-0CA812351E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DF25CB0-8107-118C-8267-579559DC60D7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A5E881A7-6488-709E-AA53-F6CDCCE1D876}"/>
              </a:ext>
            </a:extLst>
          </p:cNvPr>
          <p:cNvSpPr txBox="1"/>
          <p:nvPr/>
        </p:nvSpPr>
        <p:spPr>
          <a:xfrm>
            <a:off x="1412435" y="1512998"/>
            <a:ext cx="3348280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画面右上の      ボタンを押し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ファイルを添付」を選択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ja-JP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756F89E1-02EE-7CD0-2E6B-440C2A440106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D4A5ED3E-4E27-494B-DBC7-30E72B2D0C61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添付したい画像を選択します</a:t>
            </a:r>
          </a:p>
        </p:txBody>
      </p:sp>
      <p:pic>
        <p:nvPicPr>
          <p:cNvPr id="7173" name="図 7172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1694A3D2-A91E-7E84-4A34-4C498E7ADA3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00" t="6385" r="27949" b="90971"/>
          <a:stretch/>
        </p:blipFill>
        <p:spPr>
          <a:xfrm>
            <a:off x="2710309" y="1621104"/>
            <a:ext cx="350360" cy="197746"/>
          </a:xfrm>
          <a:prstGeom prst="rect">
            <a:avLst/>
          </a:prstGeom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358102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5" name="グループ化 7194">
            <a:extLst>
              <a:ext uri="{FF2B5EF4-FFF2-40B4-BE49-F238E27FC236}">
                <a16:creationId xmlns:a16="http://schemas.microsoft.com/office/drawing/2014/main" id="{8D841539-7BBF-85DE-FED4-8D5916A6F59A}"/>
              </a:ext>
            </a:extLst>
          </p:cNvPr>
          <p:cNvGrpSpPr/>
          <p:nvPr/>
        </p:nvGrpSpPr>
        <p:grpSpPr>
          <a:xfrm>
            <a:off x="5688879" y="2368375"/>
            <a:ext cx="1993845" cy="4318213"/>
            <a:chOff x="3901523" y="2347777"/>
            <a:chExt cx="1750106" cy="3816814"/>
          </a:xfrm>
        </p:grpSpPr>
        <p:pic>
          <p:nvPicPr>
            <p:cNvPr id="7196" name="図 7195" descr="猫の顔と文字&#10;&#10;低い精度で自動的に生成された説明">
              <a:extLst>
                <a:ext uri="{FF2B5EF4-FFF2-40B4-BE49-F238E27FC236}">
                  <a16:creationId xmlns:a16="http://schemas.microsoft.com/office/drawing/2014/main" id="{1E710D29-B11E-14D8-6338-48AC9D628C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-658"/>
            <a:stretch/>
          </p:blipFill>
          <p:spPr>
            <a:xfrm>
              <a:off x="3901523" y="2347777"/>
              <a:ext cx="1750106" cy="3816814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7197" name="正方形/長方形 7196">
              <a:extLst>
                <a:ext uri="{FF2B5EF4-FFF2-40B4-BE49-F238E27FC236}">
                  <a16:creationId xmlns:a16="http://schemas.microsoft.com/office/drawing/2014/main" id="{3DE8A374-A651-706E-6793-5CD6822C0D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77984" y="2547622"/>
              <a:ext cx="238831" cy="186755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7198" name="図 7197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4F152205-225C-42E4-8A5C-2AB972F312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4287618" y="2784236"/>
              <a:ext cx="478465" cy="260115"/>
            </a:xfrm>
            <a:prstGeom prst="rect">
              <a:avLst/>
            </a:prstGeom>
            <a:ln w="9525">
              <a:noFill/>
            </a:ln>
          </p:spPr>
        </p:pic>
      </p:grpSp>
      <p:grpSp>
        <p:nvGrpSpPr>
          <p:cNvPr id="7190" name="グループ化 7189">
            <a:extLst>
              <a:ext uri="{FF2B5EF4-FFF2-40B4-BE49-F238E27FC236}">
                <a16:creationId xmlns:a16="http://schemas.microsoft.com/office/drawing/2014/main" id="{B6672C28-BFBA-AF2B-106C-6B471A15D300}"/>
              </a:ext>
            </a:extLst>
          </p:cNvPr>
          <p:cNvGrpSpPr/>
          <p:nvPr/>
        </p:nvGrpSpPr>
        <p:grpSpPr>
          <a:xfrm>
            <a:off x="1259815" y="2330027"/>
            <a:ext cx="2337627" cy="4319999"/>
            <a:chOff x="3743885" y="2347777"/>
            <a:chExt cx="2065380" cy="3816814"/>
          </a:xfrm>
        </p:grpSpPr>
        <p:pic>
          <p:nvPicPr>
            <p:cNvPr id="7191" name="図 7190" descr="猫の顔と文字&#10;&#10;低い精度で自動的に生成された説明">
              <a:extLst>
                <a:ext uri="{FF2B5EF4-FFF2-40B4-BE49-F238E27FC236}">
                  <a16:creationId xmlns:a16="http://schemas.microsoft.com/office/drawing/2014/main" id="{62AA90EB-F22F-617C-A5A9-5015863A0E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-658"/>
            <a:stretch/>
          </p:blipFill>
          <p:spPr>
            <a:xfrm>
              <a:off x="3889993" y="2347777"/>
              <a:ext cx="1761636" cy="3816814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7192" name="正方形/長方形 7191">
              <a:extLst>
                <a:ext uri="{FF2B5EF4-FFF2-40B4-BE49-F238E27FC236}">
                  <a16:creationId xmlns:a16="http://schemas.microsoft.com/office/drawing/2014/main" id="{20EA70B8-7E5C-01C1-CECE-E2460D9F4F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43885" y="4107970"/>
              <a:ext cx="2065380" cy="161502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7193" name="図 7192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50E9E4A-9AEF-5271-777A-336205F008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4287618" y="2784236"/>
              <a:ext cx="478465" cy="260115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タイトル 1">
            <a:extLst>
              <a:ext uri="{FF2B5EF4-FFF2-40B4-BE49-F238E27FC236}">
                <a16:creationId xmlns:a16="http://schemas.microsoft.com/office/drawing/2014/main" id="{0C603594-DF91-F35F-367A-589CC9713499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メールに画像を添付し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C2494E7E-84F3-8A74-8D7B-BEE125DF70AA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画像を付けて送りましょう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09036E4-79E6-FA14-2852-F57B1325A05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175" name="直線矢印コネクタ 7174">
            <a:extLst>
              <a:ext uri="{FF2B5EF4-FFF2-40B4-BE49-F238E27FC236}">
                <a16:creationId xmlns:a16="http://schemas.microsoft.com/office/drawing/2014/main" id="{043E454A-A5EA-3223-9493-5C8448EC6719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6" name="テキスト ボックス 7175">
            <a:extLst>
              <a:ext uri="{FF2B5EF4-FFF2-40B4-BE49-F238E27FC236}">
                <a16:creationId xmlns:a16="http://schemas.microsoft.com/office/drawing/2014/main" id="{ADF6E792-5212-E36A-DB6A-C03F7C13C197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177" name="テキスト ボックス 7176">
            <a:extLst>
              <a:ext uri="{FF2B5EF4-FFF2-40B4-BE49-F238E27FC236}">
                <a16:creationId xmlns:a16="http://schemas.microsoft.com/office/drawing/2014/main" id="{3DC725BF-08BD-9349-ABEF-596B7180EC67}"/>
              </a:ext>
            </a:extLst>
          </p:cNvPr>
          <p:cNvSpPr txBox="1"/>
          <p:nvPr/>
        </p:nvSpPr>
        <p:spPr>
          <a:xfrm>
            <a:off x="1412435" y="1512998"/>
            <a:ext cx="3159565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画像が添付され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184" name="テキスト ボックス 7183">
            <a:extLst>
              <a:ext uri="{FF2B5EF4-FFF2-40B4-BE49-F238E27FC236}">
                <a16:creationId xmlns:a16="http://schemas.microsoft.com/office/drawing/2014/main" id="{0FA45037-CC21-7DA4-AD17-C835A08D915F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185" name="テキスト ボックス 7184">
            <a:extLst>
              <a:ext uri="{FF2B5EF4-FFF2-40B4-BE49-F238E27FC236}">
                <a16:creationId xmlns:a16="http://schemas.microsoft.com/office/drawing/2014/main" id="{D8487C90-7D67-E62E-12A2-A3024850FCF1}"/>
              </a:ext>
            </a:extLst>
          </p:cNvPr>
          <p:cNvSpPr txBox="1"/>
          <p:nvPr/>
        </p:nvSpPr>
        <p:spPr>
          <a:xfrm>
            <a:off x="5607128" y="1512998"/>
            <a:ext cx="364515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1800" dirty="0">
                <a:latin typeface="+mn-ea"/>
                <a:cs typeface="Times New Roman" panose="02020603050405020304" pitchFamily="18" charset="0"/>
              </a:rPr>
              <a:t>本文の編集が完了したら送信</a:t>
            </a:r>
            <a:endParaRPr lang="en-US" altLang="ja-JP" sz="1800" dirty="0">
              <a:latin typeface="+mn-ea"/>
              <a:cs typeface="Times New Roman" panose="02020603050405020304" pitchFamily="18" charset="0"/>
            </a:endParaRPr>
          </a:p>
          <a:p>
            <a:r>
              <a:rPr lang="ja-JP" altLang="en-US" sz="1800" dirty="0">
                <a:latin typeface="+mn-ea"/>
                <a:cs typeface="Times New Roman" panose="02020603050405020304" pitchFamily="18" charset="0"/>
              </a:rPr>
              <a:t>ボタン　　 を押して送信します</a:t>
            </a:r>
            <a:endParaRPr lang="ja-JP" altLang="en-US" sz="1800" dirty="0">
              <a:latin typeface="+mn-ea"/>
            </a:endParaRPr>
          </a:p>
        </p:txBody>
      </p:sp>
      <p:pic>
        <p:nvPicPr>
          <p:cNvPr id="7188" name="図 7187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88D06A59-24CA-9B4E-6422-83DAC4C6DEE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580" t="6004" r="14850" b="90627"/>
          <a:stretch/>
        </p:blipFill>
        <p:spPr>
          <a:xfrm>
            <a:off x="6380125" y="1850831"/>
            <a:ext cx="328456" cy="226783"/>
          </a:xfrm>
          <a:prstGeom prst="rect">
            <a:avLst/>
          </a:prstGeom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5264442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 descr="文字の書かれた紙&#10;&#10;中程度の精度で自動的に生成された説明">
            <a:extLst>
              <a:ext uri="{FF2B5EF4-FFF2-40B4-BE49-F238E27FC236}">
                <a16:creationId xmlns:a16="http://schemas.microsoft.com/office/drawing/2014/main" id="{506F4AC8-0F2B-FA0A-E402-52E5C80F6E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7933" y="2330028"/>
            <a:ext cx="1993846" cy="4319998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D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受信メールを確認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を確認しましょう</a:t>
            </a:r>
            <a:endParaRPr lang="ja-JP" altLang="en-US" sz="2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44071C-6DC0-8F2E-C442-787F9C240234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３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D0B9AFD2-C2F8-694A-C9F0-7E0184AE716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02CF2BB-6A8F-7E95-D02F-29C590F28E9A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42E2443-153E-F87E-ADC3-56896054B5FA}"/>
              </a:ext>
            </a:extLst>
          </p:cNvPr>
          <p:cNvSpPr txBox="1"/>
          <p:nvPr/>
        </p:nvSpPr>
        <p:spPr>
          <a:xfrm>
            <a:off x="1412435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検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左の　　　ボタンを押し、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受信トレイ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6354295D-1E3A-67A8-6D6C-629B212BB749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B785FCE5-C781-9E6F-5FE2-E4C39DE0E219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読みたいメールを選択します</a:t>
            </a:r>
          </a:p>
        </p:txBody>
      </p:sp>
      <p:pic>
        <p:nvPicPr>
          <p:cNvPr id="25" name="図 24">
            <a:extLst>
              <a:ext uri="{FF2B5EF4-FFF2-40B4-BE49-F238E27FC236}">
                <a16:creationId xmlns:a16="http://schemas.microsoft.com/office/drawing/2014/main" id="{8BEA8B28-49EE-F8E2-31C4-23D57FFCD5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66591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図 25" descr="「Gmail」のメニューのアイコンの画像">
            <a:extLst>
              <a:ext uri="{FF2B5EF4-FFF2-40B4-BE49-F238E27FC236}">
                <a16:creationId xmlns:a16="http://schemas.microsoft.com/office/drawing/2014/main" id="{D0E2EB93-8370-F093-BEEF-CE4635A0147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984" t="6554" r="83629" b="89241"/>
          <a:stretch/>
        </p:blipFill>
        <p:spPr>
          <a:xfrm>
            <a:off x="3797811" y="1572739"/>
            <a:ext cx="356652" cy="317665"/>
          </a:xfrm>
          <a:prstGeom prst="rect">
            <a:avLst/>
          </a:prstGeom>
          <a:ln w="9525">
            <a:noFill/>
          </a:ln>
          <a:effectLst/>
        </p:spPr>
      </p:pic>
      <p:pic>
        <p:nvPicPr>
          <p:cNvPr id="31" name="図 30" descr="「Gmail」のメニューのアイコンの画像">
            <a:extLst>
              <a:ext uri="{FF2B5EF4-FFF2-40B4-BE49-F238E27FC236}">
                <a16:creationId xmlns:a16="http://schemas.microsoft.com/office/drawing/2014/main" id="{AF4ECC8E-42DD-E9C6-7585-56D23D5DF78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875" b="86444"/>
          <a:stretch/>
        </p:blipFill>
        <p:spPr>
          <a:xfrm>
            <a:off x="507351" y="2374103"/>
            <a:ext cx="1674802" cy="28803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1F7EF32D-6EE0-C94F-8926-04E2687F4F2E}"/>
              </a:ext>
            </a:extLst>
          </p:cNvPr>
          <p:cNvSpPr>
            <a:spLocks noChangeAspect="1"/>
          </p:cNvSpPr>
          <p:nvPr/>
        </p:nvSpPr>
        <p:spPr>
          <a:xfrm>
            <a:off x="547810" y="2398097"/>
            <a:ext cx="288000" cy="224404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C89C1E48-1596-6BD2-143C-A275B931ED75}"/>
              </a:ext>
            </a:extLst>
          </p:cNvPr>
          <p:cNvSpPr>
            <a:spLocks/>
          </p:cNvSpPr>
          <p:nvPr/>
        </p:nvSpPr>
        <p:spPr>
          <a:xfrm>
            <a:off x="1331964" y="2865746"/>
            <a:ext cx="1845732" cy="321628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35" name="コネクタ: カギ線 34">
            <a:extLst>
              <a:ext uri="{FF2B5EF4-FFF2-40B4-BE49-F238E27FC236}">
                <a16:creationId xmlns:a16="http://schemas.microsoft.com/office/drawing/2014/main" id="{1EC2E8B9-07DD-3A54-56DC-B86486B97A10}"/>
              </a:ext>
            </a:extLst>
          </p:cNvPr>
          <p:cNvCxnSpPr>
            <a:cxnSpLocks/>
            <a:stCxn id="32" idx="2"/>
            <a:endCxn id="33" idx="1"/>
          </p:cNvCxnSpPr>
          <p:nvPr/>
        </p:nvCxnSpPr>
        <p:spPr>
          <a:xfrm rot="16200000" flipH="1">
            <a:off x="809858" y="2504453"/>
            <a:ext cx="404059" cy="640154"/>
          </a:xfrm>
          <a:prstGeom prst="bentConnector2">
            <a:avLst/>
          </a:prstGeom>
          <a:ln w="57150">
            <a:solidFill>
              <a:srgbClr val="4472C4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4E2898D2-34BD-FF5A-1B55-0148E5849A82}"/>
              </a:ext>
            </a:extLst>
          </p:cNvPr>
          <p:cNvGrpSpPr/>
          <p:nvPr/>
        </p:nvGrpSpPr>
        <p:grpSpPr>
          <a:xfrm>
            <a:off x="5689808" y="2372988"/>
            <a:ext cx="2026259" cy="4320000"/>
            <a:chOff x="5604005" y="2750629"/>
            <a:chExt cx="1778534" cy="3634119"/>
          </a:xfrm>
        </p:grpSpPr>
        <p:sp>
          <p:nvSpPr>
            <p:cNvPr id="39" name="円/楕円 52">
              <a:extLst>
                <a:ext uri="{FF2B5EF4-FFF2-40B4-BE49-F238E27FC236}">
                  <a16:creationId xmlns:a16="http://schemas.microsoft.com/office/drawing/2014/main" id="{BAF29307-D7FF-A007-1F4F-EDE9A34A40B0}"/>
                </a:ext>
              </a:extLst>
            </p:cNvPr>
            <p:cNvSpPr/>
            <p:nvPr/>
          </p:nvSpPr>
          <p:spPr>
            <a:xfrm>
              <a:off x="6430977" y="5234454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0" name="円/楕円 55">
              <a:extLst>
                <a:ext uri="{FF2B5EF4-FFF2-40B4-BE49-F238E27FC236}">
                  <a16:creationId xmlns:a16="http://schemas.microsoft.com/office/drawing/2014/main" id="{F158B6B0-E5B3-8FB0-E527-86F54FD6F692}"/>
                </a:ext>
              </a:extLst>
            </p:cNvPr>
            <p:cNvSpPr/>
            <p:nvPr/>
          </p:nvSpPr>
          <p:spPr>
            <a:xfrm>
              <a:off x="6762914" y="4905805"/>
              <a:ext cx="276494" cy="2764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1" name="図 4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FBEE802D-2727-C91F-09D6-DBA0766488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671"/>
            <a:stretch/>
          </p:blipFill>
          <p:spPr>
            <a:xfrm>
              <a:off x="5607036" y="2750629"/>
              <a:ext cx="1747039" cy="363411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42" name="図 41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E0236BA-2CD5-A322-C3C0-F426064886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3907" b="12486"/>
            <a:stretch/>
          </p:blipFill>
          <p:spPr>
            <a:xfrm>
              <a:off x="5604005" y="4828566"/>
              <a:ext cx="1747039" cy="1292834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811A6D26-2B0C-330B-9FC8-4853367943CF}"/>
                </a:ext>
              </a:extLst>
            </p:cNvPr>
            <p:cNvSpPr>
              <a:spLocks/>
            </p:cNvSpPr>
            <p:nvPr/>
          </p:nvSpPr>
          <p:spPr>
            <a:xfrm>
              <a:off x="5607037" y="4197624"/>
              <a:ext cx="1775502" cy="630942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5" name="楕円 44">
              <a:extLst>
                <a:ext uri="{FF2B5EF4-FFF2-40B4-BE49-F238E27FC236}">
                  <a16:creationId xmlns:a16="http://schemas.microsoft.com/office/drawing/2014/main" id="{702D307B-F442-0BD2-807D-CFB0F265CBF4}"/>
                </a:ext>
              </a:extLst>
            </p:cNvPr>
            <p:cNvSpPr/>
            <p:nvPr/>
          </p:nvSpPr>
          <p:spPr>
            <a:xfrm>
              <a:off x="5700713" y="4279259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BF04D54B-6C40-04D9-8B33-0183CE21641B}"/>
                </a:ext>
              </a:extLst>
            </p:cNvPr>
            <p:cNvSpPr/>
            <p:nvPr/>
          </p:nvSpPr>
          <p:spPr>
            <a:xfrm>
              <a:off x="5963459" y="4246713"/>
              <a:ext cx="985503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kumimoji="1" lang="en-US" altLang="ja-JP" sz="800" b="1" dirty="0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da</a:t>
              </a:r>
              <a:r>
                <a:rPr kumimoji="1" lang="ja-JP" altLang="en-US" sz="800" b="1" dirty="0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　</a:t>
              </a:r>
              <a:r>
                <a:rPr kumimoji="1" lang="en-US" altLang="ja-JP" sz="800" b="1" dirty="0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Tarou</a:t>
              </a:r>
              <a:endParaRPr kumimoji="1" lang="ja-JP" altLang="en-US" sz="800" b="1" dirty="0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FCEFD4C8-E573-5A2A-4384-3CC74BF849D3}"/>
                </a:ext>
              </a:extLst>
            </p:cNvPr>
            <p:cNvSpPr/>
            <p:nvPr/>
          </p:nvSpPr>
          <p:spPr>
            <a:xfrm>
              <a:off x="5963459" y="4415457"/>
              <a:ext cx="1220359" cy="328649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游ゴシック" panose="020B0400000000000000" pitchFamily="50" charset="-128"/>
                </a:rPr>
                <a:t>桜が咲きました</a:t>
              </a:r>
              <a:endParaRPr kumimoji="1" lang="en-US" altLang="ja-JP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游ゴシック" panose="020B0400000000000000" pitchFamily="50" charset="-128"/>
              </a:endParaRPr>
            </a:p>
            <a:p>
              <a:pPr>
                <a:lnSpc>
                  <a:spcPct val="130000"/>
                </a:lnSpc>
              </a:pPr>
              <a:r>
                <a:rPr kumimoji="1" lang="ja-JP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游ゴシック" panose="020B0400000000000000" pitchFamily="50" charset="-128"/>
                </a:rPr>
                <a:t>桜が咲きました。お元</a:t>
              </a:r>
              <a:r>
                <a:rPr kumimoji="1" lang="en-US" altLang="ja-JP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游ゴシック" panose="020B0400000000000000" pitchFamily="50" charset="-128"/>
                </a:rPr>
                <a:t>...</a:t>
              </a:r>
              <a:endParaRPr kumimoji="1" lang="ja-JP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5955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E1DEF80B-65ED-49CA-76D8-606EE3E9A9DB}"/>
              </a:ext>
            </a:extLst>
          </p:cNvPr>
          <p:cNvGrpSpPr/>
          <p:nvPr/>
        </p:nvGrpSpPr>
        <p:grpSpPr>
          <a:xfrm>
            <a:off x="3386028" y="2411991"/>
            <a:ext cx="2337733" cy="4319999"/>
            <a:chOff x="3568690" y="2472811"/>
            <a:chExt cx="1998065" cy="3458520"/>
          </a:xfrm>
        </p:grpSpPr>
        <p:pic>
          <p:nvPicPr>
            <p:cNvPr id="16" name="図 15" descr="テキスト, 手紙&#10;&#10;自動的に生成された説明">
              <a:extLst>
                <a:ext uri="{FF2B5EF4-FFF2-40B4-BE49-F238E27FC236}">
                  <a16:creationId xmlns:a16="http://schemas.microsoft.com/office/drawing/2014/main" id="{318117DC-A6A8-960C-1255-FCE48FF860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67"/>
            <a:stretch/>
          </p:blipFill>
          <p:spPr>
            <a:xfrm>
              <a:off x="3650731" y="2472811"/>
              <a:ext cx="1842538" cy="345852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" name="楕円 20">
              <a:extLst>
                <a:ext uri="{FF2B5EF4-FFF2-40B4-BE49-F238E27FC236}">
                  <a16:creationId xmlns:a16="http://schemas.microsoft.com/office/drawing/2014/main" id="{7FF22564-549B-4C4F-6EB0-01EADB23C16C}"/>
                </a:ext>
              </a:extLst>
            </p:cNvPr>
            <p:cNvSpPr/>
            <p:nvPr/>
          </p:nvSpPr>
          <p:spPr>
            <a:xfrm>
              <a:off x="3772492" y="3592605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3EC69B0C-15E3-ED74-F075-ED3CC29CF284}"/>
                </a:ext>
              </a:extLst>
            </p:cNvPr>
            <p:cNvSpPr/>
            <p:nvPr/>
          </p:nvSpPr>
          <p:spPr>
            <a:xfrm>
              <a:off x="4011184" y="3561666"/>
              <a:ext cx="427816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kumimoji="1" lang="en-US" altLang="ja-JP" sz="800" b="1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...</a:t>
              </a:r>
              <a:endParaRPr kumimoji="1" lang="ja-JP" altLang="en-US" sz="800" b="1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DB1EDC63-A68A-BAE1-EFF2-4DDF851B88D6}"/>
                </a:ext>
              </a:extLst>
            </p:cNvPr>
            <p:cNvSpPr/>
            <p:nvPr/>
          </p:nvSpPr>
          <p:spPr>
            <a:xfrm>
              <a:off x="3719081" y="4057859"/>
              <a:ext cx="1716520" cy="90193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rPr>
                <a:t>桜が咲きました。お元気でしょうか。</a:t>
              </a: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8CB4D0A9-8FBF-5686-2CCF-8D3A937AC7DB}"/>
                </a:ext>
              </a:extLst>
            </p:cNvPr>
            <p:cNvSpPr>
              <a:spLocks/>
            </p:cNvSpPr>
            <p:nvPr/>
          </p:nvSpPr>
          <p:spPr>
            <a:xfrm>
              <a:off x="3568690" y="4894169"/>
              <a:ext cx="1998065" cy="73981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D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受信メールを確認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を確認しましょう</a:t>
            </a:r>
            <a:endParaRPr lang="ja-JP" altLang="en-US" sz="28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6DB8B8F3-9BAC-0E62-06A8-CA74B6348BE1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４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56BB402-7E3D-5A3E-B637-166E9EAF5C72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7F884F4-C79F-283E-B4FB-15BC32535737}"/>
              </a:ext>
            </a:extLst>
          </p:cNvPr>
          <p:cNvSpPr txBox="1"/>
          <p:nvPr/>
        </p:nvSpPr>
        <p:spPr>
          <a:xfrm>
            <a:off x="3485787" y="1512998"/>
            <a:ext cx="368074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文が表示されます</a:t>
            </a:r>
          </a:p>
        </p:txBody>
      </p: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3455AB08-C000-A3DF-03A9-A7CD79D5453F}"/>
              </a:ext>
            </a:extLst>
          </p:cNvPr>
          <p:cNvCxnSpPr>
            <a:cxnSpLocks/>
          </p:cNvCxnSpPr>
          <p:nvPr/>
        </p:nvCxnSpPr>
        <p:spPr>
          <a:xfrm flipH="1">
            <a:off x="5737392" y="5929047"/>
            <a:ext cx="607699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F4BE3C58-BE62-5D63-892C-436FD18C1DA1}"/>
              </a:ext>
            </a:extLst>
          </p:cNvPr>
          <p:cNvSpPr txBox="1"/>
          <p:nvPr/>
        </p:nvSpPr>
        <p:spPr>
          <a:xfrm>
            <a:off x="6345091" y="5558086"/>
            <a:ext cx="225594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画像を長押しすると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画像を表示できます</a:t>
            </a:r>
          </a:p>
        </p:txBody>
      </p:sp>
    </p:spTree>
    <p:extLst>
      <p:ext uri="{BB962C8B-B14F-4D97-AF65-F5344CB8AC3E}">
        <p14:creationId xmlns:p14="http://schemas.microsoft.com/office/powerpoint/2010/main" val="34146243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F1A2BA08-F014-BEE7-DCD6-E5E7A9C51CCB}"/>
              </a:ext>
            </a:extLst>
          </p:cNvPr>
          <p:cNvGrpSpPr/>
          <p:nvPr/>
        </p:nvGrpSpPr>
        <p:grpSpPr>
          <a:xfrm>
            <a:off x="1165674" y="2338170"/>
            <a:ext cx="2337733" cy="4284000"/>
            <a:chOff x="3568690" y="2472810"/>
            <a:chExt cx="1998065" cy="3429699"/>
          </a:xfrm>
        </p:grpSpPr>
        <p:pic>
          <p:nvPicPr>
            <p:cNvPr id="26" name="図 25" descr="テキスト, 手紙&#10;&#10;自動的に生成された説明">
              <a:extLst>
                <a:ext uri="{FF2B5EF4-FFF2-40B4-BE49-F238E27FC236}">
                  <a16:creationId xmlns:a16="http://schemas.microsoft.com/office/drawing/2014/main" id="{1E5A8EB3-DE95-CFF0-F0C7-6EE2E583850B}"/>
                </a:ext>
              </a:extLst>
            </p:cNvPr>
            <p:cNvPicPr>
              <a:picLocks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67"/>
            <a:stretch/>
          </p:blipFill>
          <p:spPr>
            <a:xfrm>
              <a:off x="3650731" y="2472810"/>
              <a:ext cx="1876926" cy="34296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7" name="楕円 26">
              <a:extLst>
                <a:ext uri="{FF2B5EF4-FFF2-40B4-BE49-F238E27FC236}">
                  <a16:creationId xmlns:a16="http://schemas.microsoft.com/office/drawing/2014/main" id="{6A74E8F1-216B-5F89-7728-989F8521E16F}"/>
                </a:ext>
              </a:extLst>
            </p:cNvPr>
            <p:cNvSpPr/>
            <p:nvPr/>
          </p:nvSpPr>
          <p:spPr>
            <a:xfrm>
              <a:off x="3772492" y="3592605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2B7AF82-E72B-09FD-3A85-597D10CBB302}"/>
                </a:ext>
              </a:extLst>
            </p:cNvPr>
            <p:cNvSpPr/>
            <p:nvPr/>
          </p:nvSpPr>
          <p:spPr>
            <a:xfrm>
              <a:off x="4011184" y="3561666"/>
              <a:ext cx="427816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kumimoji="1" lang="en-US" altLang="ja-JP" sz="800" b="1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...</a:t>
              </a:r>
              <a:endParaRPr kumimoji="1" lang="ja-JP" altLang="en-US" sz="800" b="1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C5DBFE70-E038-23CD-F840-D73464AB8996}"/>
                </a:ext>
              </a:extLst>
            </p:cNvPr>
            <p:cNvSpPr/>
            <p:nvPr/>
          </p:nvSpPr>
          <p:spPr>
            <a:xfrm>
              <a:off x="3719081" y="4057859"/>
              <a:ext cx="1716520" cy="90193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rPr>
                <a:t>桜が咲きました。お元気でしょうか。</a:t>
              </a: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8107F10B-FD37-A0F6-5A3D-8A9FE868B7D2}"/>
                </a:ext>
              </a:extLst>
            </p:cNvPr>
            <p:cNvSpPr>
              <a:spLocks/>
            </p:cNvSpPr>
            <p:nvPr/>
          </p:nvSpPr>
          <p:spPr>
            <a:xfrm>
              <a:off x="3568690" y="4894169"/>
              <a:ext cx="1998065" cy="73981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7F668CA-0B5A-76E3-11FB-C61516A28D05}"/>
              </a:ext>
            </a:extLst>
          </p:cNvPr>
          <p:cNvSpPr>
            <a:spLocks noChangeAspect="1"/>
          </p:cNvSpPr>
          <p:nvPr/>
        </p:nvSpPr>
        <p:spPr>
          <a:xfrm>
            <a:off x="2909674" y="3694710"/>
            <a:ext cx="304049" cy="28734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84407867-285C-8B09-BC19-45F4D2CB1077}"/>
              </a:ext>
            </a:extLst>
          </p:cNvPr>
          <p:cNvGrpSpPr/>
          <p:nvPr/>
        </p:nvGrpSpPr>
        <p:grpSpPr>
          <a:xfrm>
            <a:off x="5687384" y="2338174"/>
            <a:ext cx="2124000" cy="4284000"/>
            <a:chOff x="5320566" y="2426379"/>
            <a:chExt cx="1784521" cy="3880399"/>
          </a:xfrm>
        </p:grpSpPr>
        <p:pic>
          <p:nvPicPr>
            <p:cNvPr id="23" name="図 22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967CF747-D0D3-C981-9503-15510ABB58D2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0566" y="2426379"/>
              <a:ext cx="1784520" cy="38803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4" name="図 23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E8D10674-74AA-6062-041F-4D1054DC78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249" b="72720"/>
            <a:stretch/>
          </p:blipFill>
          <p:spPr>
            <a:xfrm>
              <a:off x="5333061" y="2863721"/>
              <a:ext cx="1772026" cy="618409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に返信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字幕 14">
            <a:extLst>
              <a:ext uri="{FF2B5EF4-FFF2-40B4-BE49-F238E27FC236}">
                <a16:creationId xmlns:a16="http://schemas.microsoft.com/office/drawing/2014/main" id="{C73543D8-3EAF-A1C0-CF65-C5A4F15C172F}"/>
              </a:ext>
            </a:extLst>
          </p:cNvPr>
          <p:cNvSpPr txBox="1">
            <a:spLocks/>
          </p:cNvSpPr>
          <p:nvPr/>
        </p:nvSpPr>
        <p:spPr>
          <a:xfrm>
            <a:off x="507804" y="962972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に返信する方法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6FC84-4CD4-9E4A-A93D-FA0397F061B5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５</a:t>
            </a:r>
          </a:p>
        </p:txBody>
      </p: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F116A54B-589F-DA4D-AD38-B82FC16BC09F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B978BCED-DA32-9775-6133-EB5A3A736EF2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9F494CD4-BDFF-8B1B-E4B1-D1F7C80A1A17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返信したいメールを表示し　　　  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  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を押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446ECFF4-662B-6DF3-90EF-7CA53935032E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71EED84C-8F32-6F37-85D4-503DEE44A385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返信する文面を作成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E97CBB0D-091B-2FEF-0B9C-6A2733F5114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9244" t="22467" r="9985" b="73674"/>
          <a:stretch/>
        </p:blipFill>
        <p:spPr>
          <a:xfrm>
            <a:off x="1471780" y="1962826"/>
            <a:ext cx="342389" cy="272553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2060143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3A07B19A-C765-DEBB-4F63-C69C350414F1}"/>
              </a:ext>
            </a:extLst>
          </p:cNvPr>
          <p:cNvGrpSpPr/>
          <p:nvPr/>
        </p:nvGrpSpPr>
        <p:grpSpPr>
          <a:xfrm>
            <a:off x="3575078" y="2390228"/>
            <a:ext cx="1993846" cy="4341763"/>
            <a:chOff x="3668998" y="2426381"/>
            <a:chExt cx="1806002" cy="3913001"/>
          </a:xfrm>
        </p:grpSpPr>
        <p:pic>
          <p:nvPicPr>
            <p:cNvPr id="9" name="図 8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DEF9EC8D-767F-0067-2152-F7A9B07CE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8999" y="2426381"/>
              <a:ext cx="1806001" cy="391300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C9DB95DC-D0EA-3255-995C-57DFEBF2A0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7710" y="2628288"/>
              <a:ext cx="196707" cy="196707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1" name="図 10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7E3DB507-476D-FD0E-8D73-0A843A28F9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249" b="72720"/>
            <a:stretch/>
          </p:blipFill>
          <p:spPr>
            <a:xfrm>
              <a:off x="3668998" y="2893949"/>
              <a:ext cx="1806002" cy="627320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に返信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字幕 14">
            <a:extLst>
              <a:ext uri="{FF2B5EF4-FFF2-40B4-BE49-F238E27FC236}">
                <a16:creationId xmlns:a16="http://schemas.microsoft.com/office/drawing/2014/main" id="{C73543D8-3EAF-A1C0-CF65-C5A4F15C172F}"/>
              </a:ext>
            </a:extLst>
          </p:cNvPr>
          <p:cNvSpPr txBox="1">
            <a:spLocks/>
          </p:cNvSpPr>
          <p:nvPr/>
        </p:nvSpPr>
        <p:spPr>
          <a:xfrm>
            <a:off x="507804" y="962972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に返信する方法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00FE4F1-317C-D29B-C6FD-DB86B141834E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６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1F4F02F-1510-0635-80B0-72EB683C6D56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EE4529E-E8E6-14A9-CFD1-8FB01E1A83B0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面の作成が完了したら　　　　　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　ボタンで送信します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2CC15762-62DE-06C2-DE16-13382CBE91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75099" y="1893792"/>
            <a:ext cx="402990" cy="413323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7959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図 29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84867CDC-CF96-183D-F83F-982AEB6CE506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5653908" y="2338170"/>
            <a:ext cx="2196000" cy="4284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F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の画像を保存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の画像をアルバムに保存しましょう</a:t>
            </a:r>
            <a:endParaRPr lang="en-US" altLang="ja-JP" sz="2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DFA4F2-87CA-7DC2-6F95-3484A37C6F7D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７</a:t>
            </a: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AD6081EF-D3E2-3CB1-6034-EAE9CFE9893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FA6B966-7D6F-296D-7F99-1591F9D8CC2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6FC580B-B571-8995-1AA1-2006ABEE9F21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保存したい画像を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長押しし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A87D4D2-060B-DBA1-6E45-B32050C8638C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E1629D3-9292-9864-F638-2C340F66CCF8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画像を表示」を押します</a:t>
            </a:r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0143CF7A-E011-D126-4687-4F5CA6CECC14}"/>
              </a:ext>
            </a:extLst>
          </p:cNvPr>
          <p:cNvGrpSpPr/>
          <p:nvPr/>
        </p:nvGrpSpPr>
        <p:grpSpPr>
          <a:xfrm>
            <a:off x="1165674" y="2338170"/>
            <a:ext cx="2337733" cy="4284000"/>
            <a:chOff x="3568690" y="2472810"/>
            <a:chExt cx="1998065" cy="3429699"/>
          </a:xfrm>
        </p:grpSpPr>
        <p:pic>
          <p:nvPicPr>
            <p:cNvPr id="23" name="図 22" descr="テキスト, 手紙&#10;&#10;自動的に生成された説明">
              <a:extLst>
                <a:ext uri="{FF2B5EF4-FFF2-40B4-BE49-F238E27FC236}">
                  <a16:creationId xmlns:a16="http://schemas.microsoft.com/office/drawing/2014/main" id="{A85329E3-39FE-3FD1-6C38-FC20326AFEA0}"/>
                </a:ext>
              </a:extLst>
            </p:cNvPr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67"/>
            <a:stretch/>
          </p:blipFill>
          <p:spPr>
            <a:xfrm>
              <a:off x="3650731" y="2472810"/>
              <a:ext cx="1876926" cy="34296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4" name="楕円 23">
              <a:extLst>
                <a:ext uri="{FF2B5EF4-FFF2-40B4-BE49-F238E27FC236}">
                  <a16:creationId xmlns:a16="http://schemas.microsoft.com/office/drawing/2014/main" id="{734A842F-7E26-8C85-3E8B-8DD8C4D50A79}"/>
                </a:ext>
              </a:extLst>
            </p:cNvPr>
            <p:cNvSpPr/>
            <p:nvPr/>
          </p:nvSpPr>
          <p:spPr>
            <a:xfrm>
              <a:off x="3772492" y="3592605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3EDD7A2E-DAC9-FAF4-95B6-890575B16BBD}"/>
                </a:ext>
              </a:extLst>
            </p:cNvPr>
            <p:cNvSpPr/>
            <p:nvPr/>
          </p:nvSpPr>
          <p:spPr>
            <a:xfrm>
              <a:off x="4011184" y="3561666"/>
              <a:ext cx="427816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kumimoji="1" lang="en-US" altLang="ja-JP" sz="800" b="1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...</a:t>
              </a:r>
              <a:endParaRPr kumimoji="1" lang="ja-JP" altLang="en-US" sz="800" b="1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86A71C47-337A-AC94-39ED-2A3080BADBDF}"/>
                </a:ext>
              </a:extLst>
            </p:cNvPr>
            <p:cNvSpPr/>
            <p:nvPr/>
          </p:nvSpPr>
          <p:spPr>
            <a:xfrm>
              <a:off x="3719081" y="4057859"/>
              <a:ext cx="1716520" cy="90193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rPr>
                <a:t>桜が咲きました。お元気でしょうか。</a:t>
              </a: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414DBC58-C41A-5059-6EA1-F180D707B0E8}"/>
                </a:ext>
              </a:extLst>
            </p:cNvPr>
            <p:cNvSpPr>
              <a:spLocks/>
            </p:cNvSpPr>
            <p:nvPr/>
          </p:nvSpPr>
          <p:spPr>
            <a:xfrm>
              <a:off x="3568690" y="4894169"/>
              <a:ext cx="1998065" cy="73981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5C97909B-9544-B3F4-B0AB-303024894A25}"/>
              </a:ext>
            </a:extLst>
          </p:cNvPr>
          <p:cNvSpPr>
            <a:spLocks/>
          </p:cNvSpPr>
          <p:nvPr/>
        </p:nvSpPr>
        <p:spPr>
          <a:xfrm>
            <a:off x="5815468" y="4498331"/>
            <a:ext cx="1884744" cy="422584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9752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5" name="図 4" descr="アイコン&#10;&#10;自動的に生成された説明">
            <a:extLst>
              <a:ext uri="{FF2B5EF4-FFF2-40B4-BE49-F238E27FC236}">
                <a16:creationId xmlns:a16="http://schemas.microsoft.com/office/drawing/2014/main" id="{F806AEA6-7CB7-A795-F2CF-C9B7D32DC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74" y="3861003"/>
            <a:ext cx="2163753" cy="2706020"/>
          </a:xfrm>
          <a:prstGeom prst="rect">
            <a:avLst/>
          </a:prstGeom>
        </p:spPr>
      </p:pic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16029" y="2313608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入力の仕方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CCD213E-C1A7-04D4-EF08-2DA1D4929E88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>
                <a:solidFill>
                  <a:srgbClr val="4472C4"/>
                </a:solidFill>
              </a:rPr>
              <a:t>1</a:t>
            </a:r>
            <a:endParaRPr kumimoji="1" lang="ja-JP" altLang="en-US" sz="8800" b="1">
              <a:solidFill>
                <a:srgbClr val="4472C4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4606798-C478-BCAF-A8EC-F3B536893BE7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23C0431A-600B-E12A-87B1-C031D0EBA43D}"/>
              </a:ext>
            </a:extLst>
          </p:cNvPr>
          <p:cNvGrpSpPr>
            <a:grpSpLocks noChangeAspect="1"/>
          </p:cNvGrpSpPr>
          <p:nvPr/>
        </p:nvGrpSpPr>
        <p:grpSpPr>
          <a:xfrm>
            <a:off x="5493378" y="2323633"/>
            <a:ext cx="2222689" cy="4346452"/>
            <a:chOff x="5595172" y="2609671"/>
            <a:chExt cx="1856510" cy="3630392"/>
          </a:xfrm>
        </p:grpSpPr>
        <p:pic>
          <p:nvPicPr>
            <p:cNvPr id="34" name="図 33" descr="アプリケーション が含まれている画像&#10;&#10;自動的に生成された説明">
              <a:extLst>
                <a:ext uri="{FF2B5EF4-FFF2-40B4-BE49-F238E27FC236}">
                  <a16:creationId xmlns:a16="http://schemas.microsoft.com/office/drawing/2014/main" id="{1FD82D95-FEB7-618A-FBA8-F7BACB7D1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5172" y="2609671"/>
              <a:ext cx="1856510" cy="3630392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434C3E9D-EC52-6F54-3538-7696475B45D6}"/>
                </a:ext>
              </a:extLst>
            </p:cNvPr>
            <p:cNvSpPr>
              <a:spLocks/>
            </p:cNvSpPr>
            <p:nvPr/>
          </p:nvSpPr>
          <p:spPr>
            <a:xfrm>
              <a:off x="5642584" y="2960157"/>
              <a:ext cx="414200" cy="429073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の画像をアルバムに保存しましょう</a:t>
            </a:r>
            <a:endParaRPr lang="en-US" altLang="ja-JP" sz="2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9" name="タイトル 1">
            <a:extLst>
              <a:ext uri="{FF2B5EF4-FFF2-40B4-BE49-F238E27FC236}">
                <a16:creationId xmlns:a16="http://schemas.microsoft.com/office/drawing/2014/main" id="{95568643-48BF-6062-F66E-872CBADE9E8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F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40" name="タイトル 1">
            <a:extLst>
              <a:ext uri="{FF2B5EF4-FFF2-40B4-BE49-F238E27FC236}">
                <a16:creationId xmlns:a16="http://schemas.microsoft.com/office/drawing/2014/main" id="{77667BEA-615E-C5F2-0476-C4E99080B92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の画像を保存しましょう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5F0948-A812-4D1A-6990-395C30A24C11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８</a:t>
            </a:r>
          </a:p>
        </p:txBody>
      </p:sp>
      <p:cxnSp>
        <p:nvCxnSpPr>
          <p:cNvPr id="4" name="直線矢印コネクタ 3">
            <a:extLst>
              <a:ext uri="{FF2B5EF4-FFF2-40B4-BE49-F238E27FC236}">
                <a16:creationId xmlns:a16="http://schemas.microsoft.com/office/drawing/2014/main" id="{70A404DA-47A3-108B-8D44-B66A9434D271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F527BA0E-D7AB-AE7B-4BEF-2734B279670C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5AAA65B2-DF35-C60E-B8CA-09CB0F6ED41C}"/>
              </a:ext>
            </a:extLst>
          </p:cNvPr>
          <p:cNvSpPr txBox="1"/>
          <p:nvPr/>
        </p:nvSpPr>
        <p:spPr>
          <a:xfrm>
            <a:off x="1412435" y="1512998"/>
            <a:ext cx="377317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ボタンのメニューから保存を押すと画像を保存することができ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BF59E07-A000-9BB4-A894-C919A1B1E71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B3D3F12E-0EC4-FD26-9E34-CC996BB44CAE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像がアルバムの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中に保存されます</a:t>
            </a:r>
          </a:p>
        </p:txBody>
      </p:sp>
      <p:pic>
        <p:nvPicPr>
          <p:cNvPr id="16" name="図 15" descr="木の枝と文字の加工写真&#10;&#10;自動的に生成された説明">
            <a:extLst>
              <a:ext uri="{FF2B5EF4-FFF2-40B4-BE49-F238E27FC236}">
                <a16:creationId xmlns:a16="http://schemas.microsoft.com/office/drawing/2014/main" id="{5A9D058F-3667-AE14-11B6-B8E346E99FD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59" t="4568" r="644" b="89535"/>
          <a:stretch/>
        </p:blipFill>
        <p:spPr>
          <a:xfrm>
            <a:off x="1539637" y="1593955"/>
            <a:ext cx="234834" cy="285798"/>
          </a:xfrm>
          <a:prstGeom prst="rect">
            <a:avLst/>
          </a:prstGeom>
          <a:ln>
            <a:noFill/>
          </a:ln>
        </p:spPr>
      </p:pic>
      <p:pic>
        <p:nvPicPr>
          <p:cNvPr id="17" name="図 16" descr="木の枝と文字の加工写真&#10;&#10;自動的に生成された説明">
            <a:extLst>
              <a:ext uri="{FF2B5EF4-FFF2-40B4-BE49-F238E27FC236}">
                <a16:creationId xmlns:a16="http://schemas.microsoft.com/office/drawing/2014/main" id="{82261B2D-E6F3-B23D-8C1D-465566B3391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509"/>
          <a:stretch/>
        </p:blipFill>
        <p:spPr>
          <a:xfrm>
            <a:off x="1427933" y="2323633"/>
            <a:ext cx="1993846" cy="3045205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E7BB4397-B618-EE25-1645-84EF5F6DDAA2}"/>
              </a:ext>
            </a:extLst>
          </p:cNvPr>
          <p:cNvSpPr>
            <a:spLocks noChangeAspect="1"/>
          </p:cNvSpPr>
          <p:nvPr/>
        </p:nvSpPr>
        <p:spPr>
          <a:xfrm>
            <a:off x="3101029" y="2494704"/>
            <a:ext cx="387272" cy="301755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DD57BB70-4841-7E7A-E397-91544B97BE49}"/>
              </a:ext>
            </a:extLst>
          </p:cNvPr>
          <p:cNvGrpSpPr/>
          <p:nvPr/>
        </p:nvGrpSpPr>
        <p:grpSpPr>
          <a:xfrm>
            <a:off x="1971412" y="3499910"/>
            <a:ext cx="2029815" cy="3170175"/>
            <a:chOff x="2426218" y="3372421"/>
            <a:chExt cx="1509501" cy="2357546"/>
          </a:xfrm>
        </p:grpSpPr>
        <p:pic>
          <p:nvPicPr>
            <p:cNvPr id="26" name="図 25" descr="木の枝と文字の加工写真&#10;&#10;自動的に生成された説明">
              <a:extLst>
                <a:ext uri="{FF2B5EF4-FFF2-40B4-BE49-F238E27FC236}">
                  <a16:creationId xmlns:a16="http://schemas.microsoft.com/office/drawing/2014/main" id="{7D506B62-C35A-91B8-CA6C-1E4D2F618A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7916"/>
            <a:stretch/>
          </p:blipFill>
          <p:spPr>
            <a:xfrm>
              <a:off x="2426218" y="3372421"/>
              <a:ext cx="1509501" cy="2357546"/>
            </a:xfrm>
            <a:prstGeom prst="rect">
              <a:avLst/>
            </a:prstGeom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D553BF44-DE10-A06B-B76F-3116158E0B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3326" y="3533149"/>
              <a:ext cx="288000" cy="22440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8124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G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詐欺メールにご用心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8772328D-E3C6-7728-74B5-126264902B6B}"/>
              </a:ext>
            </a:extLst>
          </p:cNvPr>
          <p:cNvSpPr txBox="1">
            <a:spLocks/>
          </p:cNvSpPr>
          <p:nvPr/>
        </p:nvSpPr>
        <p:spPr>
          <a:xfrm>
            <a:off x="630147" y="1053860"/>
            <a:ext cx="8224826" cy="4608512"/>
          </a:xfrm>
          <a:prstGeom prst="rect">
            <a:avLst/>
          </a:prstGeom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32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身に覚えのないメールにご注意ください</a:t>
            </a:r>
            <a:r>
              <a:rPr lang="en-US" altLang="ja-JP" sz="32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!</a:t>
            </a:r>
            <a:endParaRPr lang="ja-JP" altLang="en-US" sz="32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ショップやメーカーの公式サイトからのメールになりすまし、メールから偽のサイトに誘導し、そこでユーザー</a:t>
            </a:r>
            <a:r>
              <a:rPr lang="en-US" altLang="ja-JP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やパスワード、クレジットカードなどの情報を入力させて盗み取ろうとする詐欺メールをフィッシングメールと呼びます。</a:t>
            </a:r>
            <a:endParaRPr lang="en-US" altLang="ja-JP" sz="1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en-US" altLang="ja-JP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還付金があります」「お金をあげます</a:t>
            </a:r>
            <a:r>
              <a:rPr lang="en-US" altLang="ja-JP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など都合の良い儲け話が書かれたメールは、ほとんどが詐欺メールです。このようなメールにご注意ください。</a:t>
            </a:r>
            <a:endParaRPr lang="en-US" altLang="ja-JP" sz="1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ja-JP" altLang="en-US" sz="1800" b="1" u="sng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怪しいと感じたメールは削除することをおすすめします。</a:t>
            </a:r>
          </a:p>
        </p:txBody>
      </p:sp>
      <p:pic>
        <p:nvPicPr>
          <p:cNvPr id="4" name="図 3" descr="アイコン&#10;&#10;自動的に生成された説明">
            <a:extLst>
              <a:ext uri="{FF2B5EF4-FFF2-40B4-BE49-F238E27FC236}">
                <a16:creationId xmlns:a16="http://schemas.microsoft.com/office/drawing/2014/main" id="{684B7E5B-5F4C-21EA-8472-B5407857F1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855" y="4615672"/>
            <a:ext cx="2222957" cy="2093399"/>
          </a:xfrm>
          <a:prstGeom prst="rect">
            <a:avLst/>
          </a:prstGeom>
        </p:spPr>
      </p:pic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2F459317-035D-BEF5-42FA-84EDC4364557}"/>
              </a:ext>
            </a:extLst>
          </p:cNvPr>
          <p:cNvSpPr/>
          <p:nvPr/>
        </p:nvSpPr>
        <p:spPr>
          <a:xfrm>
            <a:off x="1563189" y="4892696"/>
            <a:ext cx="3618412" cy="1724004"/>
          </a:xfrm>
          <a:prstGeom prst="roundRect">
            <a:avLst>
              <a:gd name="adj" fmla="val 10037"/>
            </a:avLst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還付金がありま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</a:p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お金をあげま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</a:p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私は有名タレントの●●で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</a:p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至急お支払いをお願いしま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  <a:endParaRPr kumimoji="1" lang="ja-JP" altLang="en-US" sz="1633">
              <a:solidFill>
                <a:schemeClr val="tx1">
                  <a:lumMod val="75000"/>
                  <a:lumOff val="25000"/>
                </a:schemeClr>
              </a:solidFill>
              <a:ea typeface="游ゴシック" panose="020B0400000000000000" pitchFamily="50" charset="-128"/>
            </a:endParaRPr>
          </a:p>
        </p:txBody>
      </p:sp>
      <p:pic>
        <p:nvPicPr>
          <p:cNvPr id="12" name="図 11" descr="アイコン&#10;&#10;自動的に生成された説明">
            <a:extLst>
              <a:ext uri="{FF2B5EF4-FFF2-40B4-BE49-F238E27FC236}">
                <a16:creationId xmlns:a16="http://schemas.microsoft.com/office/drawing/2014/main" id="{468F0639-A535-1401-D967-2FC17C7BEE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75" t="61575"/>
          <a:stretch/>
        </p:blipFill>
        <p:spPr>
          <a:xfrm>
            <a:off x="2884927" y="4281356"/>
            <a:ext cx="901219" cy="882751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CF2BB5-4F1C-9E3F-CE40-852B076A410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９</a:t>
            </a:r>
          </a:p>
        </p:txBody>
      </p:sp>
    </p:spTree>
    <p:extLst>
      <p:ext uri="{BB962C8B-B14F-4D97-AF65-F5344CB8AC3E}">
        <p14:creationId xmlns:p14="http://schemas.microsoft.com/office/powerpoint/2010/main" val="19249035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G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タイトル 1">
            <a:extLst>
              <a:ext uri="{FF2B5EF4-FFF2-40B4-BE49-F238E27FC236}">
                <a16:creationId xmlns:a16="http://schemas.microsoft.com/office/drawing/2014/main" id="{43AA73DC-84EA-5E08-4FF2-ECBE84980D95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詐欺メールにご用心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9339409-2DCC-1E07-66DE-0BC92D35BEF4}"/>
              </a:ext>
            </a:extLst>
          </p:cNvPr>
          <p:cNvSpPr txBox="1"/>
          <p:nvPr/>
        </p:nvSpPr>
        <p:spPr>
          <a:xfrm>
            <a:off x="2440249" y="1835339"/>
            <a:ext cx="4320480" cy="418576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6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差出人：</a:t>
            </a:r>
            <a:r>
              <a:rPr lang="en-US" altLang="ja-JP" sz="16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sagimail@xxx.co.jp</a:t>
            </a:r>
            <a:endParaRPr lang="en-US" altLang="ja-JP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en-US" altLang="ja-JP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6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件名：〇〇運送不在通知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en-US" altLang="ja-JP" sz="18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  <a:r>
              <a:rPr lang="ja-JP" altLang="en-US" sz="18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様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客様が</a:t>
            </a:r>
            <a:r>
              <a:rPr lang="ja-JP" altLang="en-US" sz="1800" i="0" u="none" strike="noStrike">
                <a:solidFill>
                  <a:srgbClr val="202124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缺席のため荷物を持ち帰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i="0" u="none" strike="noStrike">
                <a:solidFill>
                  <a:srgbClr val="202124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りしました。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i="0" u="none" strike="noStrike">
                <a:solidFill>
                  <a:srgbClr val="202124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ちらから確認をください</a:t>
            </a:r>
            <a:endParaRPr lang="en-US" altLang="ja-JP" sz="1800" i="0" u="none" strike="noStrike">
              <a:solidFill>
                <a:srgbClr val="202124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altLang="ja-JP" sz="1800" i="0" u="none" strike="noStrike">
              <a:solidFill>
                <a:srgbClr val="202124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800" i="0" u="sng">
                <a:solidFill>
                  <a:srgbClr val="0000FF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rme.wunm.com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altLang="ja-JP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0C91A6B0-84D4-54B8-11A3-244C3B827023}"/>
              </a:ext>
            </a:extLst>
          </p:cNvPr>
          <p:cNvSpPr txBox="1"/>
          <p:nvPr/>
        </p:nvSpPr>
        <p:spPr>
          <a:xfrm>
            <a:off x="6949217" y="5274852"/>
            <a:ext cx="2177787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不自然な言葉使い</a:t>
            </a:r>
            <a:endParaRPr lang="ja-JP" altLang="en-US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8EE0D7CB-2090-FE4E-90DC-154B596A8441}"/>
              </a:ext>
            </a:extLst>
          </p:cNvPr>
          <p:cNvSpPr txBox="1">
            <a:spLocks/>
          </p:cNvSpPr>
          <p:nvPr/>
        </p:nvSpPr>
        <p:spPr>
          <a:xfrm>
            <a:off x="640918" y="1259297"/>
            <a:ext cx="7200000" cy="468389"/>
          </a:xfrm>
          <a:prstGeom prst="rect">
            <a:avLst/>
          </a:prstGeom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5000"/>
              </a:lnSpc>
              <a:buNone/>
            </a:pPr>
            <a:r>
              <a: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【</a:t>
            </a: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参考</a:t>
            </a:r>
            <a:r>
              <a: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】</a:t>
            </a: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ィッシングメールの例</a:t>
            </a:r>
          </a:p>
        </p:txBody>
      </p:sp>
      <p:cxnSp>
        <p:nvCxnSpPr>
          <p:cNvPr id="24" name="直線コネクタ 23">
            <a:extLst>
              <a:ext uri="{FF2B5EF4-FFF2-40B4-BE49-F238E27FC236}">
                <a16:creationId xmlns:a16="http://schemas.microsoft.com/office/drawing/2014/main" id="{AF5F6957-EB96-3786-A53A-214DA70F9F8C}"/>
              </a:ext>
            </a:extLst>
          </p:cNvPr>
          <p:cNvCxnSpPr>
            <a:cxnSpLocks/>
          </p:cNvCxnSpPr>
          <p:nvPr/>
        </p:nvCxnSpPr>
        <p:spPr>
          <a:xfrm>
            <a:off x="2422992" y="2535978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9F262F79-013B-95B8-3334-7C35F9910AD2}"/>
              </a:ext>
            </a:extLst>
          </p:cNvPr>
          <p:cNvCxnSpPr>
            <a:cxnSpLocks/>
          </p:cNvCxnSpPr>
          <p:nvPr/>
        </p:nvCxnSpPr>
        <p:spPr>
          <a:xfrm>
            <a:off x="2440249" y="3016990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34CF0650-D8A6-9E30-13C0-755E933C71E9}"/>
              </a:ext>
            </a:extLst>
          </p:cNvPr>
          <p:cNvSpPr/>
          <p:nvPr/>
        </p:nvSpPr>
        <p:spPr>
          <a:xfrm>
            <a:off x="3402616" y="3688105"/>
            <a:ext cx="312489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A36928B3-51CB-CCFB-99B4-A8BABDB8978B}"/>
              </a:ext>
            </a:extLst>
          </p:cNvPr>
          <p:cNvSpPr/>
          <p:nvPr/>
        </p:nvSpPr>
        <p:spPr>
          <a:xfrm>
            <a:off x="2492925" y="4745742"/>
            <a:ext cx="2826507" cy="352352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BA0A4B23-02C7-EB3A-7F3E-691E0583DD47}"/>
              </a:ext>
            </a:extLst>
          </p:cNvPr>
          <p:cNvSpPr/>
          <p:nvPr/>
        </p:nvSpPr>
        <p:spPr>
          <a:xfrm>
            <a:off x="2492925" y="5388992"/>
            <a:ext cx="2826507" cy="348533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B1957CCD-548A-DE53-441D-57C27859DE57}"/>
              </a:ext>
            </a:extLst>
          </p:cNvPr>
          <p:cNvSpPr/>
          <p:nvPr/>
        </p:nvSpPr>
        <p:spPr>
          <a:xfrm>
            <a:off x="2512101" y="4268289"/>
            <a:ext cx="1347021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5EFB1678-E342-D466-80DC-566ABB6398AE}"/>
              </a:ext>
            </a:extLst>
          </p:cNvPr>
          <p:cNvSpPr/>
          <p:nvPr/>
        </p:nvSpPr>
        <p:spPr>
          <a:xfrm>
            <a:off x="5258265" y="3685146"/>
            <a:ext cx="1042712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サブタイトル 2">
            <a:extLst>
              <a:ext uri="{FF2B5EF4-FFF2-40B4-BE49-F238E27FC236}">
                <a16:creationId xmlns:a16="http://schemas.microsoft.com/office/drawing/2014/main" id="{A454160C-8A0E-6929-120F-45BF3E69A236}"/>
              </a:ext>
            </a:extLst>
          </p:cNvPr>
          <p:cNvSpPr txBox="1">
            <a:spLocks/>
          </p:cNvSpPr>
          <p:nvPr/>
        </p:nvSpPr>
        <p:spPr>
          <a:xfrm>
            <a:off x="6959704" y="2016243"/>
            <a:ext cx="1942509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１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129E20ED-3A87-56D1-A74B-018D50868451}"/>
              </a:ext>
            </a:extLst>
          </p:cNvPr>
          <p:cNvCxnSpPr>
            <a:cxnSpLocks/>
            <a:stCxn id="26" idx="0"/>
          </p:cNvCxnSpPr>
          <p:nvPr/>
        </p:nvCxnSpPr>
        <p:spPr>
          <a:xfrm rot="16200000" flipV="1">
            <a:off x="2067801" y="2197044"/>
            <a:ext cx="572878" cy="2409243"/>
          </a:xfrm>
          <a:prstGeom prst="bentConnector2">
            <a:avLst/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9E0B43BA-1694-698D-DB0E-666AEF72C4FD}"/>
              </a:ext>
            </a:extLst>
          </p:cNvPr>
          <p:cNvSpPr/>
          <p:nvPr/>
        </p:nvSpPr>
        <p:spPr>
          <a:xfrm>
            <a:off x="3208204" y="2138381"/>
            <a:ext cx="2147740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1FE9B014-F458-5A58-380D-105F8CA86C97}"/>
              </a:ext>
            </a:extLst>
          </p:cNvPr>
          <p:cNvSpPr txBox="1"/>
          <p:nvPr/>
        </p:nvSpPr>
        <p:spPr>
          <a:xfrm>
            <a:off x="6926839" y="2220616"/>
            <a:ext cx="2869649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見覚えのないアドレス</a:t>
            </a:r>
            <a:endParaRPr lang="en-US" altLang="ja-JP" sz="1600">
              <a:solidFill>
                <a:srgbClr val="43434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7C0FAE6B-1DD7-C3F8-6077-DD47A57AE7E6}"/>
              </a:ext>
            </a:extLst>
          </p:cNvPr>
          <p:cNvSpPr txBox="1">
            <a:spLocks/>
          </p:cNvSpPr>
          <p:nvPr/>
        </p:nvSpPr>
        <p:spPr>
          <a:xfrm>
            <a:off x="881959" y="6277499"/>
            <a:ext cx="7380082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u="sng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上記はあくまで一例としてですが、非常に巧妙なものもあるのでご注意ください</a:t>
            </a:r>
          </a:p>
        </p:txBody>
      </p:sp>
      <p:sp>
        <p:nvSpPr>
          <p:cNvPr id="15" name="サブタイトル 2">
            <a:extLst>
              <a:ext uri="{FF2B5EF4-FFF2-40B4-BE49-F238E27FC236}">
                <a16:creationId xmlns:a16="http://schemas.microsoft.com/office/drawing/2014/main" id="{FC48F419-230D-F17D-8847-840A687E4F7A}"/>
              </a:ext>
            </a:extLst>
          </p:cNvPr>
          <p:cNvSpPr txBox="1">
            <a:spLocks/>
          </p:cNvSpPr>
          <p:nvPr/>
        </p:nvSpPr>
        <p:spPr>
          <a:xfrm>
            <a:off x="84668" y="2953134"/>
            <a:ext cx="1942509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２</a:t>
            </a: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31C8EB01-ABED-C145-457D-5FAABF7EFE35}"/>
              </a:ext>
            </a:extLst>
          </p:cNvPr>
          <p:cNvSpPr txBox="1">
            <a:spLocks/>
          </p:cNvSpPr>
          <p:nvPr/>
        </p:nvSpPr>
        <p:spPr>
          <a:xfrm>
            <a:off x="6959704" y="3836293"/>
            <a:ext cx="1135296" cy="299340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３</a:t>
            </a:r>
          </a:p>
        </p:txBody>
      </p:sp>
      <p:sp>
        <p:nvSpPr>
          <p:cNvPr id="45" name="サブタイトル 2">
            <a:extLst>
              <a:ext uri="{FF2B5EF4-FFF2-40B4-BE49-F238E27FC236}">
                <a16:creationId xmlns:a16="http://schemas.microsoft.com/office/drawing/2014/main" id="{CC268CAB-4897-F86E-43A3-C310DD963247}"/>
              </a:ext>
            </a:extLst>
          </p:cNvPr>
          <p:cNvSpPr txBox="1">
            <a:spLocks/>
          </p:cNvSpPr>
          <p:nvPr/>
        </p:nvSpPr>
        <p:spPr>
          <a:xfrm>
            <a:off x="6959704" y="5007087"/>
            <a:ext cx="1942509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４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CD45459-27D3-C990-384F-F6A919245CD0}"/>
              </a:ext>
            </a:extLst>
          </p:cNvPr>
          <p:cNvSpPr txBox="1"/>
          <p:nvPr/>
        </p:nvSpPr>
        <p:spPr>
          <a:xfrm>
            <a:off x="73974" y="3139323"/>
            <a:ext cx="2869649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i="0" u="none" strike="noStrike" dirty="0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簡体字</a:t>
            </a:r>
            <a:r>
              <a:rPr lang="ja-JP" altLang="en-US" sz="1400" dirty="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等の</a:t>
            </a:r>
            <a:endParaRPr lang="en-US" altLang="ja-JP" sz="1400" dirty="0">
              <a:solidFill>
                <a:srgbClr val="43434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特殊文字</a:t>
            </a:r>
            <a:r>
              <a:rPr lang="ja-JP" altLang="en-US" sz="1400" i="0" u="none" strike="noStrike" dirty="0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が入っている</a:t>
            </a:r>
            <a:endParaRPr lang="ja-JP" altLang="en-US" sz="140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altLang="ja-JP" sz="160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63E4668-1CAE-64A6-1EC2-3B93D0441C76}"/>
              </a:ext>
            </a:extLst>
          </p:cNvPr>
          <p:cNvSpPr txBox="1"/>
          <p:nvPr/>
        </p:nvSpPr>
        <p:spPr>
          <a:xfrm>
            <a:off x="39374" y="4759691"/>
            <a:ext cx="2869649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身に覚えのないリンク</a:t>
            </a:r>
            <a:endParaRPr lang="en-US" altLang="ja-JP" sz="1600">
              <a:solidFill>
                <a:srgbClr val="43434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URL)</a:t>
            </a: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がある。</a:t>
            </a:r>
            <a:endParaRPr lang="en-US" altLang="ja-JP" sz="1600" i="0" u="none" strike="noStrike">
              <a:solidFill>
                <a:srgbClr val="434343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絶対に押さない</a:t>
            </a:r>
            <a:endParaRPr lang="ja-JP" altLang="en-US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青文字の文章の</a:t>
            </a:r>
            <a:endParaRPr lang="en-US" altLang="ja-JP" sz="1600" i="0" u="none" strike="noStrike">
              <a:solidFill>
                <a:srgbClr val="434343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</a:t>
            </a: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場合もあり</a:t>
            </a:r>
            <a:endParaRPr lang="ja-JP" altLang="en-US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CA7417D8-2978-2B73-F83E-9EEAD8585523}"/>
              </a:ext>
            </a:extLst>
          </p:cNvPr>
          <p:cNvSpPr txBox="1"/>
          <p:nvPr/>
        </p:nvSpPr>
        <p:spPr>
          <a:xfrm>
            <a:off x="6974435" y="4092692"/>
            <a:ext cx="189453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不自然な改行</a:t>
            </a:r>
            <a:endParaRPr lang="en-US" altLang="ja-JP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3" name="直線コネクタ 32">
            <a:extLst>
              <a:ext uri="{FF2B5EF4-FFF2-40B4-BE49-F238E27FC236}">
                <a16:creationId xmlns:a16="http://schemas.microsoft.com/office/drawing/2014/main" id="{FF5E73A2-C044-B25D-06CC-BC25CD3F4AC4}"/>
              </a:ext>
            </a:extLst>
          </p:cNvPr>
          <p:cNvCxnSpPr>
            <a:cxnSpLocks/>
            <a:stCxn id="18" idx="1"/>
            <a:endCxn id="31" idx="3"/>
          </p:cNvCxnSpPr>
          <p:nvPr/>
        </p:nvCxnSpPr>
        <p:spPr>
          <a:xfrm rot="10800000">
            <a:off x="6300978" y="3857747"/>
            <a:ext cx="658727" cy="128217"/>
          </a:xfrm>
          <a:prstGeom prst="bentConnector3">
            <a:avLst>
              <a:gd name="adj1" fmla="val 13369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0" name="直線コネクタ 32">
            <a:extLst>
              <a:ext uri="{FF2B5EF4-FFF2-40B4-BE49-F238E27FC236}">
                <a16:creationId xmlns:a16="http://schemas.microsoft.com/office/drawing/2014/main" id="{0479E35D-999D-2DB1-C5AA-CF7E6AB10333}"/>
              </a:ext>
            </a:extLst>
          </p:cNvPr>
          <p:cNvCxnSpPr>
            <a:cxnSpLocks/>
            <a:stCxn id="18" idx="1"/>
            <a:endCxn id="30" idx="3"/>
          </p:cNvCxnSpPr>
          <p:nvPr/>
        </p:nvCxnSpPr>
        <p:spPr>
          <a:xfrm rot="10800000" flipV="1">
            <a:off x="3859122" y="3985963"/>
            <a:ext cx="3100582" cy="454926"/>
          </a:xfrm>
          <a:prstGeom prst="bentConnector3">
            <a:avLst>
              <a:gd name="adj1" fmla="val 2845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8" name="直線コネクタ 32">
            <a:extLst>
              <a:ext uri="{FF2B5EF4-FFF2-40B4-BE49-F238E27FC236}">
                <a16:creationId xmlns:a16="http://schemas.microsoft.com/office/drawing/2014/main" id="{57C54E28-F30A-F1EE-4311-6F462A58435A}"/>
              </a:ext>
            </a:extLst>
          </p:cNvPr>
          <p:cNvCxnSpPr>
            <a:cxnSpLocks/>
            <a:stCxn id="45" idx="1"/>
            <a:endCxn id="27" idx="3"/>
          </p:cNvCxnSpPr>
          <p:nvPr/>
        </p:nvCxnSpPr>
        <p:spPr>
          <a:xfrm rot="10800000">
            <a:off x="5319432" y="4921919"/>
            <a:ext cx="1640272" cy="229945"/>
          </a:xfrm>
          <a:prstGeom prst="bentConnector3">
            <a:avLst>
              <a:gd name="adj1" fmla="val 50000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3" name="直線コネクタ 32">
            <a:extLst>
              <a:ext uri="{FF2B5EF4-FFF2-40B4-BE49-F238E27FC236}">
                <a16:creationId xmlns:a16="http://schemas.microsoft.com/office/drawing/2014/main" id="{99483AA4-1B5E-0F03-B5BC-AEBA8F2990B5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58266" y="2145535"/>
            <a:ext cx="1701439" cy="188469"/>
          </a:xfrm>
          <a:prstGeom prst="bentConnector3">
            <a:avLst>
              <a:gd name="adj1" fmla="val 50000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7" name="サブタイトル 2">
            <a:extLst>
              <a:ext uri="{FF2B5EF4-FFF2-40B4-BE49-F238E27FC236}">
                <a16:creationId xmlns:a16="http://schemas.microsoft.com/office/drawing/2014/main" id="{271446DD-B39F-7D23-06D1-3704BD19C5F9}"/>
              </a:ext>
            </a:extLst>
          </p:cNvPr>
          <p:cNvSpPr txBox="1">
            <a:spLocks/>
          </p:cNvSpPr>
          <p:nvPr/>
        </p:nvSpPr>
        <p:spPr>
          <a:xfrm>
            <a:off x="47640" y="4505628"/>
            <a:ext cx="1135296" cy="299340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５</a:t>
            </a:r>
          </a:p>
        </p:txBody>
      </p:sp>
      <p:cxnSp>
        <p:nvCxnSpPr>
          <p:cNvPr id="70" name="直線コネクタ 32">
            <a:extLst>
              <a:ext uri="{FF2B5EF4-FFF2-40B4-BE49-F238E27FC236}">
                <a16:creationId xmlns:a16="http://schemas.microsoft.com/office/drawing/2014/main" id="{ED85C035-4630-F4F1-3D31-7F13D5B9AC8E}"/>
              </a:ext>
            </a:extLst>
          </p:cNvPr>
          <p:cNvCxnSpPr>
            <a:cxnSpLocks/>
            <a:endCxn id="67" idx="3"/>
          </p:cNvCxnSpPr>
          <p:nvPr/>
        </p:nvCxnSpPr>
        <p:spPr>
          <a:xfrm rot="10800000">
            <a:off x="1182937" y="4655299"/>
            <a:ext cx="1309989" cy="892811"/>
          </a:xfrm>
          <a:prstGeom prst="bentConnector3">
            <a:avLst>
              <a:gd name="adj1" fmla="val 18007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6" name="Slide Number Placeholder 5">
            <a:extLst>
              <a:ext uri="{FF2B5EF4-FFF2-40B4-BE49-F238E27FC236}">
                <a16:creationId xmlns:a16="http://schemas.microsoft.com/office/drawing/2014/main" id="{543743EC-7555-ED86-DEFA-66FBE077E15B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０</a:t>
            </a:r>
          </a:p>
        </p:txBody>
      </p:sp>
    </p:spTree>
    <p:extLst>
      <p:ext uri="{BB962C8B-B14F-4D97-AF65-F5344CB8AC3E}">
        <p14:creationId xmlns:p14="http://schemas.microsoft.com/office/powerpoint/2010/main" val="3644505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入力の仕方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4C0DD28-F885-5ADD-D278-28880B3A3F61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61856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スマートフォンにおける文字入力には、様々な入力方法があります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18B86CC-2E32-A800-2F7F-67E99A395D68}"/>
              </a:ext>
            </a:extLst>
          </p:cNvPr>
          <p:cNvSpPr txBox="1"/>
          <p:nvPr/>
        </p:nvSpPr>
        <p:spPr>
          <a:xfrm>
            <a:off x="5908885" y="5236535"/>
            <a:ext cx="2722980" cy="395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は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⇒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ひ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⇒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ふ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と変化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3C85931-1335-015C-7EA0-B53B63929275}"/>
              </a:ext>
            </a:extLst>
          </p:cNvPr>
          <p:cNvSpPr txBox="1"/>
          <p:nvPr/>
        </p:nvSpPr>
        <p:spPr>
          <a:xfrm>
            <a:off x="749013" y="1826775"/>
            <a:ext cx="386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A</a:t>
            </a:r>
            <a:r>
              <a:rPr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 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ケータイ入力（トグル入力）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B7AFED3-2BB6-1910-BEFE-A568FDD62FC2}"/>
              </a:ext>
            </a:extLst>
          </p:cNvPr>
          <p:cNvSpPr txBox="1"/>
          <p:nvPr/>
        </p:nvSpPr>
        <p:spPr>
          <a:xfrm>
            <a:off x="664345" y="5915275"/>
            <a:ext cx="3093244" cy="755720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「ふ」と入力するには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は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を</a:t>
            </a:r>
            <a:endParaRPr lang="en-US" altLang="ja-JP">
              <a:latin typeface="+mn-ea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３回連続押します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A308483-C546-52D9-6DB6-5A855B502E66}"/>
              </a:ext>
            </a:extLst>
          </p:cNvPr>
          <p:cNvCxnSpPr>
            <a:cxnSpLocks/>
          </p:cNvCxnSpPr>
          <p:nvPr/>
        </p:nvCxnSpPr>
        <p:spPr>
          <a:xfrm>
            <a:off x="4152419" y="2980617"/>
            <a:ext cx="85402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761FE82C-2BD9-3331-AAF0-C0101226AA5F}"/>
              </a:ext>
            </a:extLst>
          </p:cNvPr>
          <p:cNvGrpSpPr/>
          <p:nvPr/>
        </p:nvGrpSpPr>
        <p:grpSpPr>
          <a:xfrm>
            <a:off x="963043" y="2453431"/>
            <a:ext cx="2502324" cy="3396703"/>
            <a:chOff x="1614144" y="2453431"/>
            <a:chExt cx="1985138" cy="2694665"/>
          </a:xfrm>
        </p:grpSpPr>
        <p:grpSp>
          <p:nvGrpSpPr>
            <p:cNvPr id="9" name="グループ化 8">
              <a:extLst>
                <a:ext uri="{FF2B5EF4-FFF2-40B4-BE49-F238E27FC236}">
                  <a16:creationId xmlns:a16="http://schemas.microsoft.com/office/drawing/2014/main" id="{82674E31-728F-D507-B796-6ACB8A4A0825}"/>
                </a:ext>
              </a:extLst>
            </p:cNvPr>
            <p:cNvGrpSpPr/>
            <p:nvPr/>
          </p:nvGrpSpPr>
          <p:grpSpPr>
            <a:xfrm>
              <a:off x="1614144" y="2453431"/>
              <a:ext cx="1985138" cy="2666339"/>
              <a:chOff x="573178" y="2569387"/>
              <a:chExt cx="1985138" cy="2666339"/>
            </a:xfrm>
          </p:grpSpPr>
          <p:pic>
            <p:nvPicPr>
              <p:cNvPr id="80" name="図 79" descr="電子機器, キーボード が含まれている画像&#10;&#10;自動的に生成された説明">
                <a:extLst>
                  <a:ext uri="{FF2B5EF4-FFF2-40B4-BE49-F238E27FC236}">
                    <a16:creationId xmlns:a16="http://schemas.microsoft.com/office/drawing/2014/main" id="{7DB83162-3451-91F6-8D18-A168BCE73A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9402"/>
              <a:stretch/>
            </p:blipFill>
            <p:spPr>
              <a:xfrm>
                <a:off x="574761" y="3061192"/>
                <a:ext cx="1983555" cy="2174534"/>
              </a:xfrm>
              <a:prstGeom prst="rect">
                <a:avLst/>
              </a:prstGeom>
            </p:spPr>
          </p:pic>
          <p:pic>
            <p:nvPicPr>
              <p:cNvPr id="77" name="図 76" descr="電子機器, キーボード が含まれている画像&#10;&#10;自動的に生成された説明">
                <a:extLst>
                  <a:ext uri="{FF2B5EF4-FFF2-40B4-BE49-F238E27FC236}">
                    <a16:creationId xmlns:a16="http://schemas.microsoft.com/office/drawing/2014/main" id="{F93334E2-D293-4EB8-AC2D-C17F1CDC75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89216"/>
              <a:stretch/>
            </p:blipFill>
            <p:spPr>
              <a:xfrm>
                <a:off x="573178" y="2569387"/>
                <a:ext cx="1983555" cy="463479"/>
              </a:xfrm>
              <a:prstGeom prst="rect">
                <a:avLst/>
              </a:prstGeom>
            </p:spPr>
          </p:pic>
        </p:grpSp>
        <p:sp>
          <p:nvSpPr>
            <p:cNvPr id="78" name="正方形/長方形 77">
              <a:extLst>
                <a:ext uri="{FF2B5EF4-FFF2-40B4-BE49-F238E27FC236}">
                  <a16:creationId xmlns:a16="http://schemas.microsoft.com/office/drawing/2014/main" id="{86F2317F-68F3-8B78-447D-9D5379CB91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42884" y="3755573"/>
              <a:ext cx="381579" cy="381579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5AC38790-ED47-F6A0-B4D3-9CD5D261A8BE}"/>
                </a:ext>
              </a:extLst>
            </p:cNvPr>
            <p:cNvSpPr/>
            <p:nvPr/>
          </p:nvSpPr>
          <p:spPr>
            <a:xfrm>
              <a:off x="1614144" y="2453431"/>
              <a:ext cx="1980001" cy="2694665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</p:grpSp>
      <p:pic>
        <p:nvPicPr>
          <p:cNvPr id="85" name="図 84" descr="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94BE5192-7715-F26C-262B-620F35D451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82983"/>
          <a:stretch/>
        </p:blipFill>
        <p:spPr>
          <a:xfrm>
            <a:off x="5251670" y="2494474"/>
            <a:ext cx="2495848" cy="920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字幕 14">
            <a:extLst>
              <a:ext uri="{FF2B5EF4-FFF2-40B4-BE49-F238E27FC236}">
                <a16:creationId xmlns:a16="http://schemas.microsoft.com/office/drawing/2014/main" id="{3A6645EA-24C3-BD30-2E83-29244BE4ECDF}"/>
              </a:ext>
            </a:extLst>
          </p:cNvPr>
          <p:cNvSpPr txBox="1">
            <a:spLocks/>
          </p:cNvSpPr>
          <p:nvPr/>
        </p:nvSpPr>
        <p:spPr>
          <a:xfrm>
            <a:off x="5598492" y="2759814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 u="sng">
                <a:latin typeface="+mn-ea"/>
              </a:rPr>
              <a:t>は</a:t>
            </a:r>
          </a:p>
        </p:txBody>
      </p:sp>
      <p:sp>
        <p:nvSpPr>
          <p:cNvPr id="26" name="字幕 14">
            <a:extLst>
              <a:ext uri="{FF2B5EF4-FFF2-40B4-BE49-F238E27FC236}">
                <a16:creationId xmlns:a16="http://schemas.microsoft.com/office/drawing/2014/main" id="{AAAC48E5-A5B6-FC0F-4657-63CF1301ED7D}"/>
              </a:ext>
            </a:extLst>
          </p:cNvPr>
          <p:cNvSpPr txBox="1">
            <a:spLocks/>
          </p:cNvSpPr>
          <p:nvPr/>
        </p:nvSpPr>
        <p:spPr>
          <a:xfrm>
            <a:off x="5598492" y="3107270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>
                <a:latin typeface="+mn-ea"/>
              </a:rPr>
              <a:t>は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6422BDD6-863B-3C37-F632-2894E3FFD2F3}"/>
              </a:ext>
            </a:extLst>
          </p:cNvPr>
          <p:cNvSpPr>
            <a:spLocks noChangeAspect="1"/>
          </p:cNvSpPr>
          <p:nvPr/>
        </p:nvSpPr>
        <p:spPr>
          <a:xfrm>
            <a:off x="5586465" y="2700918"/>
            <a:ext cx="363032" cy="363032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pic>
        <p:nvPicPr>
          <p:cNvPr id="32" name="図 31" descr="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51C48D9C-1E13-4DE5-10E0-F357A8318C6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82983"/>
          <a:stretch/>
        </p:blipFill>
        <p:spPr>
          <a:xfrm>
            <a:off x="5570211" y="3357533"/>
            <a:ext cx="2495848" cy="920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3" name="字幕 14">
            <a:extLst>
              <a:ext uri="{FF2B5EF4-FFF2-40B4-BE49-F238E27FC236}">
                <a16:creationId xmlns:a16="http://schemas.microsoft.com/office/drawing/2014/main" id="{6C9BE9ED-8644-B8A5-7F32-38080FF7565C}"/>
              </a:ext>
            </a:extLst>
          </p:cNvPr>
          <p:cNvSpPr txBox="1">
            <a:spLocks/>
          </p:cNvSpPr>
          <p:nvPr/>
        </p:nvSpPr>
        <p:spPr>
          <a:xfrm>
            <a:off x="5901028" y="3638446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 u="sng">
                <a:latin typeface="+mn-ea"/>
              </a:rPr>
              <a:t>ひ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C4B32E2-FB9C-341F-6629-1D19E56E5E8E}"/>
              </a:ext>
            </a:extLst>
          </p:cNvPr>
          <p:cNvSpPr>
            <a:spLocks noChangeAspect="1"/>
          </p:cNvSpPr>
          <p:nvPr/>
        </p:nvSpPr>
        <p:spPr>
          <a:xfrm>
            <a:off x="5880942" y="3563977"/>
            <a:ext cx="363032" cy="363032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35" name="字幕 14">
            <a:extLst>
              <a:ext uri="{FF2B5EF4-FFF2-40B4-BE49-F238E27FC236}">
                <a16:creationId xmlns:a16="http://schemas.microsoft.com/office/drawing/2014/main" id="{82941ACD-A664-A620-C731-102BA9322D3E}"/>
              </a:ext>
            </a:extLst>
          </p:cNvPr>
          <p:cNvSpPr txBox="1">
            <a:spLocks/>
          </p:cNvSpPr>
          <p:nvPr/>
        </p:nvSpPr>
        <p:spPr>
          <a:xfrm>
            <a:off x="5901028" y="3985902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>
                <a:latin typeface="+mn-ea"/>
              </a:rPr>
              <a:t>ひ</a:t>
            </a:r>
          </a:p>
        </p:txBody>
      </p:sp>
      <p:grpSp>
        <p:nvGrpSpPr>
          <p:cNvPr id="36" name="グループ化 35">
            <a:extLst>
              <a:ext uri="{FF2B5EF4-FFF2-40B4-BE49-F238E27FC236}">
                <a16:creationId xmlns:a16="http://schemas.microsoft.com/office/drawing/2014/main" id="{C8B7B7D9-C59B-8B98-5B16-1118E6542620}"/>
              </a:ext>
            </a:extLst>
          </p:cNvPr>
          <p:cNvGrpSpPr/>
          <p:nvPr/>
        </p:nvGrpSpPr>
        <p:grpSpPr>
          <a:xfrm>
            <a:off x="6022451" y="4220592"/>
            <a:ext cx="2495848" cy="920171"/>
            <a:chOff x="573178" y="5551906"/>
            <a:chExt cx="1980001" cy="729988"/>
          </a:xfrm>
        </p:grpSpPr>
        <p:pic>
          <p:nvPicPr>
            <p:cNvPr id="37" name="図 36" descr="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0C287C01-93C0-54D2-8FEA-2CC4D86E16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82983"/>
            <a:stretch/>
          </p:blipFill>
          <p:spPr>
            <a:xfrm>
              <a:off x="573178" y="5551906"/>
              <a:ext cx="1980001" cy="72998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AEC3D384-4543-7369-0030-58252F43E4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8322" y="5715682"/>
              <a:ext cx="288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49D6FE50-D844-66DB-CAAB-3A7494FE52F0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</a:p>
        </p:txBody>
      </p:sp>
    </p:spTree>
    <p:extLst>
      <p:ext uri="{BB962C8B-B14F-4D97-AF65-F5344CB8AC3E}">
        <p14:creationId xmlns:p14="http://schemas.microsoft.com/office/powerpoint/2010/main" val="2029008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入力の仕方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4C0DD28-F885-5ADD-D278-28880B3A3F61}"/>
              </a:ext>
            </a:extLst>
          </p:cNvPr>
          <p:cNvSpPr txBox="1">
            <a:spLocks/>
          </p:cNvSpPr>
          <p:nvPr/>
        </p:nvSpPr>
        <p:spPr>
          <a:xfrm>
            <a:off x="539552" y="1098668"/>
            <a:ext cx="8240660" cy="139550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 dirty="0">
                <a:latin typeface="+mn-ea"/>
              </a:rPr>
              <a:t>スマートフォンにおける文字入力には、様々な入力方法があります</a:t>
            </a:r>
          </a:p>
          <a:p>
            <a:pPr marL="0" indent="0">
              <a:buNone/>
            </a:pPr>
            <a:endParaRPr lang="ja-JP" altLang="en-US" sz="2200" dirty="0">
              <a:latin typeface="+mn-ea"/>
            </a:endParaRP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72212E08-E365-E9C7-37B2-75CCEB1D224D}"/>
              </a:ext>
            </a:extLst>
          </p:cNvPr>
          <p:cNvGrpSpPr/>
          <p:nvPr/>
        </p:nvGrpSpPr>
        <p:grpSpPr>
          <a:xfrm>
            <a:off x="5705957" y="2470740"/>
            <a:ext cx="2755068" cy="1019754"/>
            <a:chOff x="5407820" y="2544327"/>
            <a:chExt cx="1995634" cy="738659"/>
          </a:xfrm>
        </p:grpSpPr>
        <p:pic>
          <p:nvPicPr>
            <p:cNvPr id="41" name="図 40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BB217E0-3DD0-0350-BD26-BA578CEF6A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2917"/>
            <a:stretch/>
          </p:blipFill>
          <p:spPr>
            <a:xfrm>
              <a:off x="5407820" y="2544327"/>
              <a:ext cx="1995634" cy="73865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4039990F-5BFD-FBF5-4FD4-DFB8B600E1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2669" y="2736680"/>
              <a:ext cx="288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09FC2FE8-0D81-1079-B392-D4453FD1E08E}"/>
              </a:ext>
            </a:extLst>
          </p:cNvPr>
          <p:cNvSpPr txBox="1"/>
          <p:nvPr/>
        </p:nvSpPr>
        <p:spPr>
          <a:xfrm>
            <a:off x="5631178" y="3590978"/>
            <a:ext cx="2904626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い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の文字が入力できます</a:t>
            </a:r>
          </a:p>
        </p:txBody>
      </p:sp>
      <p:cxnSp>
        <p:nvCxnSpPr>
          <p:cNvPr id="39" name="直線矢印コネクタ 38">
            <a:extLst>
              <a:ext uri="{FF2B5EF4-FFF2-40B4-BE49-F238E27FC236}">
                <a16:creationId xmlns:a16="http://schemas.microsoft.com/office/drawing/2014/main" id="{8C0CEAFC-F578-FE51-301F-B4114CA35A4F}"/>
              </a:ext>
            </a:extLst>
          </p:cNvPr>
          <p:cNvCxnSpPr>
            <a:cxnSpLocks/>
          </p:cNvCxnSpPr>
          <p:nvPr/>
        </p:nvCxnSpPr>
        <p:spPr>
          <a:xfrm>
            <a:off x="4152419" y="2980617"/>
            <a:ext cx="85402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F0C8A15D-E6A4-4A0C-AD6B-FAD89E6F13C3}"/>
              </a:ext>
            </a:extLst>
          </p:cNvPr>
          <p:cNvSpPr txBox="1"/>
          <p:nvPr/>
        </p:nvSpPr>
        <p:spPr>
          <a:xfrm>
            <a:off x="749013" y="1826775"/>
            <a:ext cx="386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B 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スマートフォン入力</a:t>
            </a:r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(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フリック入力）</a:t>
            </a:r>
            <a:endParaRPr kumimoji="0" lang="en-US" altLang="ja-JP" kern="0" dirty="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pic>
        <p:nvPicPr>
          <p:cNvPr id="42" name="図 41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638CC00A-7DEF-E0EC-FE2A-DC532AE906B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100"/>
          <a:stretch/>
        </p:blipFill>
        <p:spPr>
          <a:xfrm>
            <a:off x="1005546" y="2506199"/>
            <a:ext cx="2459821" cy="580921"/>
          </a:xfrm>
          <a:prstGeom prst="rect">
            <a:avLst/>
          </a:prstGeom>
        </p:spPr>
      </p:pic>
      <p:pic>
        <p:nvPicPr>
          <p:cNvPr id="43" name="図 42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501C9093-2881-FCD6-1D71-B48D0A19C2B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02"/>
          <a:stretch/>
        </p:blipFill>
        <p:spPr>
          <a:xfrm>
            <a:off x="1008095" y="3116490"/>
            <a:ext cx="2457272" cy="2693861"/>
          </a:xfrm>
          <a:prstGeom prst="rect">
            <a:avLst/>
          </a:prstGeom>
        </p:spPr>
      </p:pic>
      <p:sp>
        <p:nvSpPr>
          <p:cNvPr id="57" name="右矢印 5">
            <a:extLst>
              <a:ext uri="{FF2B5EF4-FFF2-40B4-BE49-F238E27FC236}">
                <a16:creationId xmlns:a16="http://schemas.microsoft.com/office/drawing/2014/main" id="{154FFAD7-4A33-FE9E-3BEB-47792097FFE8}"/>
              </a:ext>
            </a:extLst>
          </p:cNvPr>
          <p:cNvSpPr>
            <a:spLocks/>
          </p:cNvSpPr>
          <p:nvPr/>
        </p:nvSpPr>
        <p:spPr>
          <a:xfrm>
            <a:off x="1969217" y="3835614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58" name="右矢印 139">
            <a:extLst>
              <a:ext uri="{FF2B5EF4-FFF2-40B4-BE49-F238E27FC236}">
                <a16:creationId xmlns:a16="http://schemas.microsoft.com/office/drawing/2014/main" id="{B705FFB1-9FF5-28FE-01DE-B1017E2C4F46}"/>
              </a:ext>
            </a:extLst>
          </p:cNvPr>
          <p:cNvSpPr>
            <a:spLocks/>
          </p:cNvSpPr>
          <p:nvPr/>
        </p:nvSpPr>
        <p:spPr>
          <a:xfrm flipH="1">
            <a:off x="1116106" y="3835614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60" name="右矢印 140">
            <a:extLst>
              <a:ext uri="{FF2B5EF4-FFF2-40B4-BE49-F238E27FC236}">
                <a16:creationId xmlns:a16="http://schemas.microsoft.com/office/drawing/2014/main" id="{E0D89EA4-E893-4A83-A355-CE9830D4F8CB}"/>
              </a:ext>
            </a:extLst>
          </p:cNvPr>
          <p:cNvSpPr>
            <a:spLocks/>
          </p:cNvSpPr>
          <p:nvPr/>
        </p:nvSpPr>
        <p:spPr>
          <a:xfrm rot="5400000">
            <a:off x="1533066" y="4261486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63" name="右矢印 141">
            <a:extLst>
              <a:ext uri="{FF2B5EF4-FFF2-40B4-BE49-F238E27FC236}">
                <a16:creationId xmlns:a16="http://schemas.microsoft.com/office/drawing/2014/main" id="{C2EE2665-6300-85D5-7ED6-2BB00EEAB001}"/>
              </a:ext>
            </a:extLst>
          </p:cNvPr>
          <p:cNvSpPr>
            <a:spLocks/>
          </p:cNvSpPr>
          <p:nvPr/>
        </p:nvSpPr>
        <p:spPr>
          <a:xfrm rot="5400000" flipH="1">
            <a:off x="1533066" y="3400166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79BB21F1-F132-9C55-E229-204BE9945075}"/>
              </a:ext>
            </a:extLst>
          </p:cNvPr>
          <p:cNvSpPr>
            <a:spLocks noChangeAspect="1"/>
          </p:cNvSpPr>
          <p:nvPr/>
        </p:nvSpPr>
        <p:spPr>
          <a:xfrm>
            <a:off x="1477456" y="3697770"/>
            <a:ext cx="468000" cy="48909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0432315-25FE-05AB-0147-7614321F1F05}"/>
              </a:ext>
            </a:extLst>
          </p:cNvPr>
          <p:cNvSpPr/>
          <p:nvPr/>
        </p:nvSpPr>
        <p:spPr>
          <a:xfrm>
            <a:off x="985176" y="2472140"/>
            <a:ext cx="2452869" cy="3338211"/>
          </a:xfrm>
          <a:prstGeom prst="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0A714C8D-B736-EFDE-8D07-99AECACB2A78}"/>
              </a:ext>
            </a:extLst>
          </p:cNvPr>
          <p:cNvSpPr txBox="1">
            <a:spLocks/>
          </p:cNvSpPr>
          <p:nvPr/>
        </p:nvSpPr>
        <p:spPr>
          <a:xfrm>
            <a:off x="633941" y="3713108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>
                <a:solidFill>
                  <a:srgbClr val="FF3300"/>
                </a:solidFill>
                <a:latin typeface="+mn-ea"/>
              </a:rPr>
              <a:t>い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F58FFD8-1522-235F-7F7E-537246981196}"/>
              </a:ext>
            </a:extLst>
          </p:cNvPr>
          <p:cNvSpPr txBox="1">
            <a:spLocks/>
          </p:cNvSpPr>
          <p:nvPr/>
        </p:nvSpPr>
        <p:spPr>
          <a:xfrm>
            <a:off x="1477456" y="2857549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 dirty="0">
                <a:solidFill>
                  <a:srgbClr val="FF3300"/>
                </a:solidFill>
                <a:latin typeface="+mn-ea"/>
              </a:rPr>
              <a:t>う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D638CA7-675C-9263-0937-01DA2C1BC982}"/>
              </a:ext>
            </a:extLst>
          </p:cNvPr>
          <p:cNvSpPr txBox="1">
            <a:spLocks/>
          </p:cNvSpPr>
          <p:nvPr/>
        </p:nvSpPr>
        <p:spPr>
          <a:xfrm>
            <a:off x="2340162" y="3713108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>
                <a:solidFill>
                  <a:srgbClr val="FF3300"/>
                </a:solidFill>
                <a:latin typeface="+mn-ea"/>
              </a:rPr>
              <a:t>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BABD803-6DC2-4720-AE08-FF772FA4303A}"/>
              </a:ext>
            </a:extLst>
          </p:cNvPr>
          <p:cNvSpPr txBox="1">
            <a:spLocks/>
          </p:cNvSpPr>
          <p:nvPr/>
        </p:nvSpPr>
        <p:spPr>
          <a:xfrm>
            <a:off x="1477456" y="4559088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>
                <a:solidFill>
                  <a:srgbClr val="FF3300"/>
                </a:solidFill>
                <a:latin typeface="+mn-ea"/>
              </a:rPr>
              <a:t>お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FABA72B-396A-E07E-E454-EDD1A681F399}"/>
              </a:ext>
            </a:extLst>
          </p:cNvPr>
          <p:cNvSpPr txBox="1"/>
          <p:nvPr/>
        </p:nvSpPr>
        <p:spPr>
          <a:xfrm>
            <a:off x="23719" y="5882947"/>
            <a:ext cx="5024690" cy="755720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「い」と入力するには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あ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から左に指をスライドし、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い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の表示に変わったら指を離します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EF802804-FBD9-96B0-CD7A-26D294DB6C87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</a:p>
        </p:txBody>
      </p:sp>
    </p:spTree>
    <p:extLst>
      <p:ext uri="{BB962C8B-B14F-4D97-AF65-F5344CB8AC3E}">
        <p14:creationId xmlns:p14="http://schemas.microsoft.com/office/powerpoint/2010/main" val="3260582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入力の仕方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4C0DD28-F885-5ADD-D278-28880B3A3F61}"/>
              </a:ext>
            </a:extLst>
          </p:cNvPr>
          <p:cNvSpPr txBox="1">
            <a:spLocks/>
          </p:cNvSpPr>
          <p:nvPr/>
        </p:nvSpPr>
        <p:spPr>
          <a:xfrm>
            <a:off x="539552" y="1098668"/>
            <a:ext cx="8240660" cy="139550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スマートフォンにおける文字入力には、様々な入力方法があります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7691243-34AA-D586-AE4E-5A42E1520FAE}"/>
              </a:ext>
            </a:extLst>
          </p:cNvPr>
          <p:cNvSpPr txBox="1"/>
          <p:nvPr/>
        </p:nvSpPr>
        <p:spPr>
          <a:xfrm>
            <a:off x="5432576" y="3398225"/>
            <a:ext cx="2668017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ja-JP" altLang="en-US">
                <a:latin typeface="+mn-ea"/>
                <a:cs typeface="Meiryo" charset="-128"/>
              </a:rPr>
              <a:t>自動的に文字が入ります</a:t>
            </a:r>
            <a:endParaRPr lang="en-US" altLang="ja-JP">
              <a:latin typeface="+mn-ea"/>
              <a:cs typeface="Meiryo" charset="-128"/>
            </a:endParaRP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3D625B1C-F7AB-F02E-D27F-09013A86701A}"/>
              </a:ext>
            </a:extLst>
          </p:cNvPr>
          <p:cNvSpPr txBox="1"/>
          <p:nvPr/>
        </p:nvSpPr>
        <p:spPr>
          <a:xfrm>
            <a:off x="749013" y="1826775"/>
            <a:ext cx="386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C 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音声入力</a:t>
            </a:r>
            <a:endParaRPr kumimoji="0" lang="en-US" altLang="ja-JP" kern="0" dirty="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pic>
        <p:nvPicPr>
          <p:cNvPr id="44" name="図 43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44A9BE8D-38DE-655D-283A-3F852D01BA8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077"/>
          <a:stretch/>
        </p:blipFill>
        <p:spPr>
          <a:xfrm>
            <a:off x="5463376" y="2601805"/>
            <a:ext cx="2606419" cy="67330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59" name="直線矢印コネクタ 58">
            <a:extLst>
              <a:ext uri="{FF2B5EF4-FFF2-40B4-BE49-F238E27FC236}">
                <a16:creationId xmlns:a16="http://schemas.microsoft.com/office/drawing/2014/main" id="{8E165419-9DEF-2213-4CFE-9458BACCBC1C}"/>
              </a:ext>
            </a:extLst>
          </p:cNvPr>
          <p:cNvCxnSpPr>
            <a:cxnSpLocks/>
          </p:cNvCxnSpPr>
          <p:nvPr/>
        </p:nvCxnSpPr>
        <p:spPr>
          <a:xfrm>
            <a:off x="4152419" y="2980617"/>
            <a:ext cx="85402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967722EA-CCA2-8BA7-1625-451881F17B35}"/>
              </a:ext>
            </a:extLst>
          </p:cNvPr>
          <p:cNvGrpSpPr/>
          <p:nvPr/>
        </p:nvGrpSpPr>
        <p:grpSpPr>
          <a:xfrm>
            <a:off x="861601" y="2461724"/>
            <a:ext cx="3303536" cy="3425883"/>
            <a:chOff x="1577598" y="2346146"/>
            <a:chExt cx="2698731" cy="2798678"/>
          </a:xfrm>
        </p:grpSpPr>
        <p:pic>
          <p:nvPicPr>
            <p:cNvPr id="34" name="図 33" descr="テキスト&#10;&#10;中程度の精度で自動的に生成された説明">
              <a:extLst>
                <a:ext uri="{FF2B5EF4-FFF2-40B4-BE49-F238E27FC236}">
                  <a16:creationId xmlns:a16="http://schemas.microsoft.com/office/drawing/2014/main" id="{B5DF8FB0-79A0-5147-BC32-928647D756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8929" b="7407"/>
            <a:stretch/>
          </p:blipFill>
          <p:spPr>
            <a:xfrm>
              <a:off x="1700958" y="3726388"/>
              <a:ext cx="1944669" cy="1418436"/>
            </a:xfrm>
            <a:prstGeom prst="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>
              <a:outerShdw blurRad="63500" algn="ctr" rotWithShape="0">
                <a:schemeClr val="tx1">
                  <a:alpha val="40000"/>
                </a:schemeClr>
              </a:outerShdw>
            </a:effectLst>
          </p:spPr>
        </p:pic>
        <p:pic>
          <p:nvPicPr>
            <p:cNvPr id="35" name="図 34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77CBD32-6034-0591-BC10-5D4F9E43CA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8077"/>
            <a:stretch/>
          </p:blipFill>
          <p:spPr>
            <a:xfrm>
              <a:off x="1700958" y="2951489"/>
              <a:ext cx="1944669" cy="502358"/>
            </a:xfrm>
            <a:prstGeom prst="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>
              <a:outerShdw blurRad="63500" algn="ctr" rotWithShape="0">
                <a:schemeClr val="tx1">
                  <a:alpha val="40000"/>
                </a:schemeClr>
              </a:outerShdw>
            </a:effectLst>
          </p:spPr>
        </p:pic>
        <p:sp>
          <p:nvSpPr>
            <p:cNvPr id="36" name="object 24">
              <a:extLst>
                <a:ext uri="{FF2B5EF4-FFF2-40B4-BE49-F238E27FC236}">
                  <a16:creationId xmlns:a16="http://schemas.microsoft.com/office/drawing/2014/main" id="{8105A91D-A7D0-E1DD-0B72-DEBF524A12EA}"/>
                </a:ext>
              </a:extLst>
            </p:cNvPr>
            <p:cNvSpPr/>
            <p:nvPr/>
          </p:nvSpPr>
          <p:spPr>
            <a:xfrm>
              <a:off x="2194376" y="3316771"/>
              <a:ext cx="678661" cy="13214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+mn-ea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79E39CC6-DB10-7514-C654-778660273666}"/>
                </a:ext>
              </a:extLst>
            </p:cNvPr>
            <p:cNvSpPr txBox="1"/>
            <p:nvPr/>
          </p:nvSpPr>
          <p:spPr>
            <a:xfrm>
              <a:off x="1577598" y="2346146"/>
              <a:ext cx="2698731" cy="6173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srgbClr val="4472C4"/>
                  </a:solidFill>
                  <a:latin typeface="+mn-ea"/>
                  <a:cs typeface="Meiryo" charset="-128"/>
                </a:rPr>
                <a:t>マイクボタン 　  　を押して</a:t>
              </a:r>
              <a:endParaRPr lang="en-US" altLang="ja-JP">
                <a:solidFill>
                  <a:srgbClr val="4472C4"/>
                </a:solidFill>
                <a:latin typeface="+mn-ea"/>
                <a:cs typeface="Meiryo" charset="-128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srgbClr val="4472C4"/>
                  </a:solidFill>
                  <a:latin typeface="+mn-ea"/>
                  <a:cs typeface="Meiryo" charset="-128"/>
                </a:rPr>
                <a:t>話しかけます</a:t>
              </a:r>
            </a:p>
          </p:txBody>
        </p:sp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34C359BE-28BB-2FCF-50EC-82498D4292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73002" y="3106400"/>
              <a:ext cx="288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460BE326-33A6-D25C-5822-EF45A521B1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89501" t="1939" r="927" b="65482"/>
            <a:stretch/>
          </p:blipFill>
          <p:spPr>
            <a:xfrm>
              <a:off x="2712794" y="2368187"/>
              <a:ext cx="329924" cy="314225"/>
            </a:xfrm>
            <a:prstGeom prst="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noFill/>
              <a:prstDash val="solid"/>
              <a:miter lim="800000"/>
            </a:ln>
            <a:effectLst/>
          </p:spPr>
        </p:pic>
        <p:sp>
          <p:nvSpPr>
            <p:cNvPr id="56" name="object 24">
              <a:extLst>
                <a:ext uri="{FF2B5EF4-FFF2-40B4-BE49-F238E27FC236}">
                  <a16:creationId xmlns:a16="http://schemas.microsoft.com/office/drawing/2014/main" id="{88538726-B490-B545-7DE4-3E458B01C41C}"/>
                </a:ext>
              </a:extLst>
            </p:cNvPr>
            <p:cNvSpPr/>
            <p:nvPr/>
          </p:nvSpPr>
          <p:spPr>
            <a:xfrm>
              <a:off x="3148713" y="3518781"/>
              <a:ext cx="678661" cy="13214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+mn-ea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BEFDDF1A-4F82-DD60-7A2E-C22F9CD5A73B}"/>
                </a:ext>
              </a:extLst>
            </p:cNvPr>
            <p:cNvSpPr/>
            <p:nvPr/>
          </p:nvSpPr>
          <p:spPr>
            <a:xfrm>
              <a:off x="1700958" y="2984208"/>
              <a:ext cx="1893187" cy="428120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256206F7-478B-747E-5C66-60B2FDA6450C}"/>
                </a:ext>
              </a:extLst>
            </p:cNvPr>
            <p:cNvSpPr/>
            <p:nvPr/>
          </p:nvSpPr>
          <p:spPr>
            <a:xfrm>
              <a:off x="1700957" y="3745772"/>
              <a:ext cx="1944669" cy="1399052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DFAA61CA-8D3F-7C1D-4973-6B67824977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379" y="4315602"/>
            <a:ext cx="1181457" cy="1799534"/>
          </a:xfrm>
          <a:prstGeom prst="rect">
            <a:avLst/>
          </a:prstGeom>
        </p:spPr>
      </p:pic>
      <p:sp>
        <p:nvSpPr>
          <p:cNvPr id="7" name="吹き出し: 円形 6">
            <a:extLst>
              <a:ext uri="{FF2B5EF4-FFF2-40B4-BE49-F238E27FC236}">
                <a16:creationId xmlns:a16="http://schemas.microsoft.com/office/drawing/2014/main" id="{59679865-CC61-AB34-4F64-3C36393D9929}"/>
              </a:ext>
            </a:extLst>
          </p:cNvPr>
          <p:cNvSpPr/>
          <p:nvPr/>
        </p:nvSpPr>
        <p:spPr>
          <a:xfrm>
            <a:off x="3149582" y="4103262"/>
            <a:ext cx="1422418" cy="785622"/>
          </a:xfrm>
          <a:prstGeom prst="wedgeEllipseCallout">
            <a:avLst>
              <a:gd name="adj1" fmla="val 67955"/>
              <a:gd name="adj2" fmla="val 58176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9E6CD4D-7BD0-B82C-8AAF-ADD97F254EAD}"/>
              </a:ext>
            </a:extLst>
          </p:cNvPr>
          <p:cNvSpPr txBox="1"/>
          <p:nvPr/>
        </p:nvSpPr>
        <p:spPr>
          <a:xfrm>
            <a:off x="3280277" y="4315602"/>
            <a:ext cx="1141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600" b="1">
                <a:solidFill>
                  <a:schemeClr val="accent1"/>
                </a:solidFill>
                <a:latin typeface="+mn-ea"/>
                <a:cs typeface="Meiryo" charset="-128"/>
              </a:rPr>
              <a:t>とうきょう</a:t>
            </a:r>
            <a:endParaRPr kumimoji="1" lang="ja-JP" altLang="en-US" sz="1600" b="1">
              <a:solidFill>
                <a:schemeClr val="accent1"/>
              </a:solidFill>
              <a:latin typeface="+mn-ea"/>
              <a:cs typeface="Meiryo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4A0F8D5-EDC1-9206-85CE-DE03F54A0F18}"/>
              </a:ext>
            </a:extLst>
          </p:cNvPr>
          <p:cNvSpPr/>
          <p:nvPr/>
        </p:nvSpPr>
        <p:spPr>
          <a:xfrm>
            <a:off x="6260823" y="2897229"/>
            <a:ext cx="410385" cy="305499"/>
          </a:xfrm>
          <a:prstGeom prst="rect">
            <a:avLst/>
          </a:prstGeom>
          <a:solidFill>
            <a:schemeClr val="bg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58FA5098-5D64-BB1E-AE12-C2C2EBCC9C7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</a:p>
        </p:txBody>
      </p:sp>
    </p:spTree>
    <p:extLst>
      <p:ext uri="{BB962C8B-B14F-4D97-AF65-F5344CB8AC3E}">
        <p14:creationId xmlns:p14="http://schemas.microsoft.com/office/powerpoint/2010/main" val="711410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6D4D0DB-FB1B-CFBD-917E-D7E4C6AC445E}"/>
              </a:ext>
            </a:extLst>
          </p:cNvPr>
          <p:cNvSpPr txBox="1"/>
          <p:nvPr/>
        </p:nvSpPr>
        <p:spPr>
          <a:xfrm>
            <a:off x="5607129" y="1512998"/>
            <a:ext cx="3212896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　　のボタンを使いカーソルを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右まで移動させます</a:t>
            </a: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807C19E-DEF9-272F-5933-BA6B6BFD5D8B}"/>
              </a:ext>
            </a:extLst>
          </p:cNvPr>
          <p:cNvGrpSpPr/>
          <p:nvPr/>
        </p:nvGrpSpPr>
        <p:grpSpPr>
          <a:xfrm>
            <a:off x="5692211" y="2335769"/>
            <a:ext cx="3477994" cy="4350821"/>
            <a:chOff x="5864953" y="2620109"/>
            <a:chExt cx="3161799" cy="3952419"/>
          </a:xfrm>
        </p:grpSpPr>
        <p:pic>
          <p:nvPicPr>
            <p:cNvPr id="39" name="図 38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EDBB7CDB-FFC1-A2E0-8C9E-E24910EE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4953" y="2652193"/>
              <a:ext cx="1812580" cy="392033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40" name="図 39">
              <a:extLst>
                <a:ext uri="{FF2B5EF4-FFF2-40B4-BE49-F238E27FC236}">
                  <a16:creationId xmlns:a16="http://schemas.microsoft.com/office/drawing/2014/main" id="{6D4DC51D-EF45-D12D-304F-E61DA0A1A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36707" y="3996945"/>
              <a:ext cx="1551345" cy="36209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1" name="図 40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AB4EB501-1B92-DEED-E672-5498EBB9A8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6220445" y="3066226"/>
              <a:ext cx="545169" cy="266713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42" name="吹き出し: 四角形 41">
              <a:extLst>
                <a:ext uri="{FF2B5EF4-FFF2-40B4-BE49-F238E27FC236}">
                  <a16:creationId xmlns:a16="http://schemas.microsoft.com/office/drawing/2014/main" id="{C1FC5241-10A5-CE23-4AAF-BE8E430CFF25}"/>
                </a:ext>
              </a:extLst>
            </p:cNvPr>
            <p:cNvSpPr/>
            <p:nvPr/>
          </p:nvSpPr>
          <p:spPr>
            <a:xfrm>
              <a:off x="7651199" y="2620109"/>
              <a:ext cx="1375553" cy="892234"/>
            </a:xfrm>
            <a:prstGeom prst="wedgeRectCallout">
              <a:avLst>
                <a:gd name="adj1" fmla="val -70690"/>
                <a:gd name="adj2" fmla="val 94197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pic>
          <p:nvPicPr>
            <p:cNvPr id="45" name="図 44">
              <a:extLst>
                <a:ext uri="{FF2B5EF4-FFF2-40B4-BE49-F238E27FC236}">
                  <a16:creationId xmlns:a16="http://schemas.microsoft.com/office/drawing/2014/main" id="{E38BE85E-A647-40FC-B6CE-D080D9A3AD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1621" t="13429" r="53323" b="18082"/>
            <a:stretch/>
          </p:blipFill>
          <p:spPr>
            <a:xfrm>
              <a:off x="7689850" y="2731973"/>
              <a:ext cx="1317852" cy="600966"/>
            </a:xfrm>
            <a:prstGeom prst="rect">
              <a:avLst/>
            </a:prstGeom>
            <a:ln>
              <a:noFill/>
            </a:ln>
          </p:spPr>
        </p:pic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09FD4AC8-66DE-8B7E-F98E-1F715F7E0211}"/>
                </a:ext>
              </a:extLst>
            </p:cNvPr>
            <p:cNvSpPr>
              <a:spLocks/>
            </p:cNvSpPr>
            <p:nvPr/>
          </p:nvSpPr>
          <p:spPr>
            <a:xfrm>
              <a:off x="8090067" y="2699888"/>
              <a:ext cx="387183" cy="752815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6D14903A-7C39-CA0E-EE66-24DB6F8F1E92}"/>
                </a:ext>
              </a:extLst>
            </p:cNvPr>
            <p:cNvSpPr txBox="1"/>
            <p:nvPr/>
          </p:nvSpPr>
          <p:spPr>
            <a:xfrm>
              <a:off x="6009006" y="4314518"/>
              <a:ext cx="1112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dirty="0">
                  <a:solidFill>
                    <a:srgbClr val="FF00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カーソル</a:t>
              </a:r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043B5699-1935-29E6-EF1B-AA3EC152DAF4}"/>
                </a:ext>
              </a:extLst>
            </p:cNvPr>
            <p:cNvSpPr>
              <a:spLocks/>
            </p:cNvSpPr>
            <p:nvPr/>
          </p:nvSpPr>
          <p:spPr>
            <a:xfrm>
              <a:off x="6336586" y="4017649"/>
              <a:ext cx="72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16F32283-312F-056D-C02E-B5529FDE0064}"/>
              </a:ext>
            </a:extLst>
          </p:cNvPr>
          <p:cNvGrpSpPr/>
          <p:nvPr/>
        </p:nvGrpSpPr>
        <p:grpSpPr>
          <a:xfrm>
            <a:off x="1427372" y="2338589"/>
            <a:ext cx="3474512" cy="4320000"/>
            <a:chOff x="1523623" y="2652194"/>
            <a:chExt cx="3162737" cy="3932358"/>
          </a:xfrm>
        </p:grpSpPr>
        <p:pic>
          <p:nvPicPr>
            <p:cNvPr id="12" name="図 11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4FCC88FA-C73E-34D4-A423-284A8A43D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3623" y="2652194"/>
              <a:ext cx="1808725" cy="3932358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9A02BB56-6787-8DF4-3DEE-7BCDEB27E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84193" y="3997163"/>
              <a:ext cx="1566936" cy="317575"/>
            </a:xfrm>
            <a:prstGeom prst="rect">
              <a:avLst/>
            </a:prstGeom>
          </p:spPr>
        </p:pic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055FC6BC-CD14-8BD1-D88F-ADEC7C9FCC31}"/>
                </a:ext>
              </a:extLst>
            </p:cNvPr>
            <p:cNvSpPr txBox="1"/>
            <p:nvPr/>
          </p:nvSpPr>
          <p:spPr>
            <a:xfrm>
              <a:off x="2637156" y="4286357"/>
              <a:ext cx="1112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>
                  <a:solidFill>
                    <a:srgbClr val="FF00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カーソル</a:t>
              </a: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2E297FC5-3AFE-2C6F-29DA-59187687CE73}"/>
                </a:ext>
              </a:extLst>
            </p:cNvPr>
            <p:cNvSpPr>
              <a:spLocks/>
            </p:cNvSpPr>
            <p:nvPr/>
          </p:nvSpPr>
          <p:spPr>
            <a:xfrm>
              <a:off x="2964736" y="3989487"/>
              <a:ext cx="72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25" name="図 24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9DB0045E-6480-458E-F8DC-4F259C637C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1874308" y="3058607"/>
              <a:ext cx="535740" cy="266713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36" name="吹き出し: 四角形 35">
              <a:extLst>
                <a:ext uri="{FF2B5EF4-FFF2-40B4-BE49-F238E27FC236}">
                  <a16:creationId xmlns:a16="http://schemas.microsoft.com/office/drawing/2014/main" id="{83FFE181-7F66-F676-45CB-86A0D481763D}"/>
                </a:ext>
              </a:extLst>
            </p:cNvPr>
            <p:cNvSpPr/>
            <p:nvPr/>
          </p:nvSpPr>
          <p:spPr>
            <a:xfrm>
              <a:off x="3310807" y="2652194"/>
              <a:ext cx="1375553" cy="892234"/>
            </a:xfrm>
            <a:prstGeom prst="wedgeRectCallout">
              <a:avLst>
                <a:gd name="adj1" fmla="val -70690"/>
                <a:gd name="adj2" fmla="val 94197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1D203966-F6C3-676D-34B7-44B759215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8040" t="14569" b="22351"/>
            <a:stretch/>
          </p:blipFill>
          <p:spPr>
            <a:xfrm>
              <a:off x="3351424" y="2779650"/>
              <a:ext cx="1167610" cy="679739"/>
            </a:xfrm>
            <a:prstGeom prst="rect">
              <a:avLst/>
            </a:prstGeom>
          </p:spPr>
        </p:pic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83B90023-8F83-6E18-BA05-6480920CFED1}"/>
                </a:ext>
              </a:extLst>
            </p:cNvPr>
            <p:cNvSpPr>
              <a:spLocks/>
            </p:cNvSpPr>
            <p:nvPr/>
          </p:nvSpPr>
          <p:spPr>
            <a:xfrm>
              <a:off x="3824034" y="2731973"/>
              <a:ext cx="449302" cy="752815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>
                <a:solidFill>
                  <a:sysClr val="windowText" lastClr="000000"/>
                </a:solidFill>
              </a:rPr>
              <a:t>１</a:t>
            </a:r>
            <a:r>
              <a:rPr lang="en-US" altLang="ja-JP">
                <a:solidFill>
                  <a:sysClr val="windowText" lastClr="000000"/>
                </a:solidFill>
              </a:rPr>
              <a:t>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の訂正方法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A62E96F0-3872-629D-7ED0-C1EB6D624ABD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5262FDC-93E6-4137-6B79-2FF61BD3794D}"/>
              </a:ext>
            </a:extLst>
          </p:cNvPr>
          <p:cNvSpPr txBox="1"/>
          <p:nvPr/>
        </p:nvSpPr>
        <p:spPr>
          <a:xfrm>
            <a:off x="2182105" y="106347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例</a:t>
            </a: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今日</a:t>
            </a:r>
            <a:r>
              <a:rPr lang="ja-JP" altLang="en-US" sz="1400" b="1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⇒「今日</a:t>
            </a:r>
            <a:r>
              <a:rPr lang="ja-JP" altLang="en-US" sz="1400" b="1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へ修正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0" name="図 9" descr="電卓の写真の携帯電話のスクリーンショット&#10;&#10;低い精度で自動的に生成された説明">
            <a:extLst>
              <a:ext uri="{FF2B5EF4-FFF2-40B4-BE49-F238E27FC236}">
                <a16:creationId xmlns:a16="http://schemas.microsoft.com/office/drawing/2014/main" id="{45F5595D-F5B7-2329-706E-65E7CD91D17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4" t="69245" r="83152" b="24465"/>
          <a:stretch/>
        </p:blipFill>
        <p:spPr>
          <a:xfrm>
            <a:off x="5763799" y="1618033"/>
            <a:ext cx="246678" cy="230976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92FA5F3-0809-89CE-E53A-5F25EE798DB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DB082523-0340-1A05-1E87-918FCC26AE57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2E5CAA57-7D06-B5FF-4F48-D2034D6322A7}"/>
              </a:ext>
            </a:extLst>
          </p:cNvPr>
          <p:cNvSpPr>
            <a:spLocks/>
          </p:cNvSpPr>
          <p:nvPr/>
        </p:nvSpPr>
        <p:spPr>
          <a:xfrm>
            <a:off x="5728307" y="5360604"/>
            <a:ext cx="325726" cy="304920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A74E510-2896-DC1B-98B4-3A4A75921816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右にカーソルがある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ことを確認しま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69E45F3F-FFC0-CBCC-CBE5-BFAAE88D49DA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CB84792D-C912-073F-5F7A-1D1C9683ECC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2139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図 49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D3FCA2FA-2271-CD2E-C861-188496EE81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550" y="2337559"/>
            <a:ext cx="1990371" cy="4312468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37" name="図 36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2B2DD430-EE32-7655-BBEB-E2D73B1B0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381" y="2371999"/>
            <a:ext cx="1991258" cy="431439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>
                <a:solidFill>
                  <a:sysClr val="windowText" lastClr="000000"/>
                </a:solidFill>
              </a:rPr>
              <a:t>１</a:t>
            </a:r>
            <a:r>
              <a:rPr lang="en-US" altLang="ja-JP">
                <a:solidFill>
                  <a:sysClr val="windowText" lastClr="000000"/>
                </a:solidFill>
              </a:rPr>
              <a:t>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の訂正方法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A62E96F0-3872-629D-7ED0-C1EB6D624ABD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5262FDC-93E6-4137-6B79-2FF61BD3794D}"/>
              </a:ext>
            </a:extLst>
          </p:cNvPr>
          <p:cNvSpPr txBox="1"/>
          <p:nvPr/>
        </p:nvSpPr>
        <p:spPr>
          <a:xfrm>
            <a:off x="2182105" y="106347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例</a:t>
            </a: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今日</a:t>
            </a:r>
            <a:r>
              <a:rPr lang="ja-JP" altLang="en-US" sz="1400" b="1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⇒「今日</a:t>
            </a:r>
            <a:r>
              <a:rPr lang="ja-JP" altLang="en-US" sz="1400" b="1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へ修正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F2AA28F8-F68E-0480-F830-2EFD5FC8C893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00F2324B-5419-DEC8-BE64-0215E60691C9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E0AA350-CB64-DADB-D249-D860511BC333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削除ボタン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    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</a:t>
            </a:r>
          </a:p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押して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ほ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削除します</a:t>
            </a:r>
            <a:endParaRPr lang="ja-JP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9CDABCC7-4CED-45D7-CE31-35AB92DAC397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B5BBA926-5A54-6DF2-EE07-60F136048D1F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入力すれば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は終了です</a:t>
            </a:r>
          </a:p>
        </p:txBody>
      </p:sp>
      <p:pic>
        <p:nvPicPr>
          <p:cNvPr id="31" name="図 30">
            <a:extLst>
              <a:ext uri="{FF2B5EF4-FFF2-40B4-BE49-F238E27FC236}">
                <a16:creationId xmlns:a16="http://schemas.microsoft.com/office/drawing/2014/main" id="{C7C2E073-1999-5000-431A-4E54EFB66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84457" y="1641999"/>
            <a:ext cx="231429" cy="216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C085B5D-FAB5-DECA-5128-8077C2FA05AF}"/>
              </a:ext>
            </a:extLst>
          </p:cNvPr>
          <p:cNvSpPr>
            <a:spLocks noChangeAspect="1"/>
          </p:cNvSpPr>
          <p:nvPr/>
        </p:nvSpPr>
        <p:spPr>
          <a:xfrm>
            <a:off x="6921352" y="5348830"/>
            <a:ext cx="404008" cy="31979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0" name="図 39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A23DBD43-5852-CF88-146F-43A8AE1980A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20" t="10954" r="50319" b="82232"/>
          <a:stretch/>
        </p:blipFill>
        <p:spPr>
          <a:xfrm>
            <a:off x="6081781" y="2823282"/>
            <a:ext cx="544763" cy="296159"/>
          </a:xfrm>
          <a:prstGeom prst="rect">
            <a:avLst/>
          </a:prstGeom>
          <a:ln w="9525">
            <a:noFill/>
          </a:ln>
        </p:spPr>
      </p:pic>
      <p:pic>
        <p:nvPicPr>
          <p:cNvPr id="44" name="図 43">
            <a:extLst>
              <a:ext uri="{FF2B5EF4-FFF2-40B4-BE49-F238E27FC236}">
                <a16:creationId xmlns:a16="http://schemas.microsoft.com/office/drawing/2014/main" id="{82A9C011-04ED-3844-152E-1E5E98DDAAC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57393" y="3957579"/>
            <a:ext cx="1621250" cy="291369"/>
          </a:xfrm>
          <a:prstGeom prst="rect">
            <a:avLst/>
          </a:prstGeom>
        </p:spPr>
      </p:pic>
      <p:pic>
        <p:nvPicPr>
          <p:cNvPr id="45" name="図 44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498F0AE2-186E-1EF1-CFEC-C7C7C028B96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20" t="10954" r="50319" b="82232"/>
          <a:stretch/>
        </p:blipFill>
        <p:spPr>
          <a:xfrm>
            <a:off x="6130790" y="2853200"/>
            <a:ext cx="544763" cy="296159"/>
          </a:xfrm>
          <a:prstGeom prst="rect">
            <a:avLst/>
          </a:prstGeom>
          <a:ln w="9525">
            <a:noFill/>
          </a:ln>
        </p:spPr>
      </p:pic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CC71F8F2-C244-19AA-AAF7-C97A657A58C4}"/>
              </a:ext>
            </a:extLst>
          </p:cNvPr>
          <p:cNvSpPr>
            <a:spLocks noChangeAspect="1"/>
          </p:cNvSpPr>
          <p:nvPr/>
        </p:nvSpPr>
        <p:spPr>
          <a:xfrm>
            <a:off x="3080649" y="4976523"/>
            <a:ext cx="319096" cy="31909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3" name="図 52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C400163C-0EF0-D673-1A88-4A88C432545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20" t="10954" r="50319" b="82232"/>
          <a:stretch/>
        </p:blipFill>
        <p:spPr>
          <a:xfrm>
            <a:off x="1861086" y="2836732"/>
            <a:ext cx="561553" cy="295510"/>
          </a:xfrm>
          <a:prstGeom prst="rect">
            <a:avLst/>
          </a:prstGeom>
          <a:ln w="9525">
            <a:noFill/>
          </a:ln>
        </p:spPr>
      </p:pic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47D37585-8220-FB58-47BE-1EF4DDE9EF89}"/>
              </a:ext>
            </a:extLst>
          </p:cNvPr>
          <p:cNvSpPr txBox="1"/>
          <p:nvPr/>
        </p:nvSpPr>
        <p:spPr>
          <a:xfrm>
            <a:off x="1426472" y="4219074"/>
            <a:ext cx="1232640" cy="306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ーソル</a:t>
            </a:r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F54A77A3-82B7-9EE8-C479-70E28891ED2D}"/>
              </a:ext>
            </a:extLst>
          </p:cNvPr>
          <p:cNvSpPr>
            <a:spLocks/>
          </p:cNvSpPr>
          <p:nvPr/>
        </p:nvSpPr>
        <p:spPr>
          <a:xfrm>
            <a:off x="1765357" y="3890149"/>
            <a:ext cx="79774" cy="31909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6" name="吹き出し: 四角形 55">
            <a:extLst>
              <a:ext uri="{FF2B5EF4-FFF2-40B4-BE49-F238E27FC236}">
                <a16:creationId xmlns:a16="http://schemas.microsoft.com/office/drawing/2014/main" id="{D2EE0131-111B-4ECA-31F3-9B1AE824203E}"/>
              </a:ext>
            </a:extLst>
          </p:cNvPr>
          <p:cNvSpPr/>
          <p:nvPr/>
        </p:nvSpPr>
        <p:spPr>
          <a:xfrm>
            <a:off x="3423700" y="2346487"/>
            <a:ext cx="1524074" cy="988569"/>
          </a:xfrm>
          <a:prstGeom prst="wedgeRectCallout">
            <a:avLst>
              <a:gd name="adj1" fmla="val -70690"/>
              <a:gd name="adj2" fmla="val 94197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57" name="図 56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17759600-BE8D-0F0F-A79D-3663ADF18D6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4" t="35932" r="68690" b="56821"/>
          <a:stretch/>
        </p:blipFill>
        <p:spPr>
          <a:xfrm>
            <a:off x="3454789" y="2389042"/>
            <a:ext cx="1476447" cy="861264"/>
          </a:xfrm>
          <a:prstGeom prst="rect">
            <a:avLst/>
          </a:prstGeom>
          <a:ln w="9525">
            <a:noFill/>
          </a:ln>
        </p:spPr>
      </p:pic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86A7CEB5-E892-ADA5-CC94-7587A12A0163}"/>
              </a:ext>
            </a:extLst>
          </p:cNvPr>
          <p:cNvSpPr>
            <a:spLocks/>
          </p:cNvSpPr>
          <p:nvPr/>
        </p:nvSpPr>
        <p:spPr>
          <a:xfrm>
            <a:off x="3992341" y="2434880"/>
            <a:ext cx="497814" cy="83409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9" name="Slide Number Placeholder 5">
            <a:extLst>
              <a:ext uri="{FF2B5EF4-FFF2-40B4-BE49-F238E27FC236}">
                <a16:creationId xmlns:a16="http://schemas.microsoft.com/office/drawing/2014/main" id="{1522CDB7-E20A-D131-4DDB-E115113871FF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1891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B3AA8F3-F2E1-3CDA-55BD-45BCC1474A79}"/>
              </a:ext>
            </a:extLst>
          </p:cNvPr>
          <p:cNvGrpSpPr/>
          <p:nvPr/>
        </p:nvGrpSpPr>
        <p:grpSpPr>
          <a:xfrm>
            <a:off x="3575077" y="2411991"/>
            <a:ext cx="1993846" cy="4320000"/>
            <a:chOff x="3838175" y="2259012"/>
            <a:chExt cx="1870286" cy="4058513"/>
          </a:xfrm>
        </p:grpSpPr>
        <p:pic>
          <p:nvPicPr>
            <p:cNvPr id="6" name="図 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025D3489-4250-9973-68DC-F9CE4D3336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53" b="-1"/>
            <a:stretch/>
          </p:blipFill>
          <p:spPr>
            <a:xfrm>
              <a:off x="3838175" y="2259012"/>
              <a:ext cx="1870286" cy="4058513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9" name="図 28">
              <a:extLst>
                <a:ext uri="{FF2B5EF4-FFF2-40B4-BE49-F238E27FC236}">
                  <a16:creationId xmlns:a16="http://schemas.microsoft.com/office/drawing/2014/main" id="{DBF3F4D4-DAD4-250E-FE14-AFCC8D009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68331" y="3728223"/>
              <a:ext cx="1594967" cy="286646"/>
            </a:xfrm>
            <a:prstGeom prst="rect">
              <a:avLst/>
            </a:prstGeom>
          </p:spPr>
        </p:pic>
        <p:pic>
          <p:nvPicPr>
            <p:cNvPr id="33" name="図 32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A122A47A-5B67-64FA-DE4C-1881055034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4256447" y="2685063"/>
              <a:ext cx="535931" cy="291357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6B078B74-EE61-ECB3-9459-EB32C75CF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81979" y="3775728"/>
              <a:ext cx="1694689" cy="199614"/>
            </a:xfrm>
            <a:prstGeom prst="rect">
              <a:avLst/>
            </a:prstGeom>
          </p:spPr>
        </p:pic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5E80C1BD-BA95-30A3-1277-9B1F72FC3B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72201" y="5056844"/>
              <a:ext cx="314611" cy="31461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8E86A448-8B78-B179-61DC-FDCA735FA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1838" t="18049" r="8550" b="-1"/>
            <a:stretch/>
          </p:blipFill>
          <p:spPr>
            <a:xfrm>
              <a:off x="4636924" y="3774376"/>
              <a:ext cx="939745" cy="314611"/>
            </a:xfrm>
            <a:prstGeom prst="rect">
              <a:avLst/>
            </a:prstGeom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6404BEA1-17FF-F725-D472-7ED2574DBC65}"/>
                </a:ext>
              </a:extLst>
            </p:cNvPr>
            <p:cNvSpPr>
              <a:spLocks/>
            </p:cNvSpPr>
            <p:nvPr/>
          </p:nvSpPr>
          <p:spPr>
            <a:xfrm>
              <a:off x="4309232" y="3734604"/>
              <a:ext cx="78653" cy="31461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277ABF44-9A83-E002-4969-9AA13F17EDA8}"/>
                </a:ext>
              </a:extLst>
            </p:cNvPr>
            <p:cNvSpPr>
              <a:spLocks/>
            </p:cNvSpPr>
            <p:nvPr/>
          </p:nvSpPr>
          <p:spPr>
            <a:xfrm>
              <a:off x="5529506" y="3728223"/>
              <a:ext cx="78653" cy="31461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15" name="直線矢印コネクタ 14">
              <a:extLst>
                <a:ext uri="{FF2B5EF4-FFF2-40B4-BE49-F238E27FC236}">
                  <a16:creationId xmlns:a16="http://schemas.microsoft.com/office/drawing/2014/main" id="{697FB30F-F5C1-8E80-A1AF-920793EE697D}"/>
                </a:ext>
              </a:extLst>
            </p:cNvPr>
            <p:cNvCxnSpPr>
              <a:cxnSpLocks/>
            </p:cNvCxnSpPr>
            <p:nvPr/>
          </p:nvCxnSpPr>
          <p:spPr>
            <a:xfrm>
              <a:off x="4387885" y="4014869"/>
              <a:ext cx="1121350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>
                <a:solidFill>
                  <a:sysClr val="windowText" lastClr="000000"/>
                </a:solidFill>
              </a:rPr>
              <a:t>１</a:t>
            </a:r>
            <a:r>
              <a:rPr lang="en-US" altLang="ja-JP">
                <a:solidFill>
                  <a:sysClr val="windowText" lastClr="000000"/>
                </a:solidFill>
              </a:rPr>
              <a:t>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の訂正方法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A62E96F0-3872-629D-7ED0-C1EB6D624ABD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5262FDC-93E6-4137-6B79-2FF61BD3794D}"/>
              </a:ext>
            </a:extLst>
          </p:cNvPr>
          <p:cNvSpPr txBox="1"/>
          <p:nvPr/>
        </p:nvSpPr>
        <p:spPr>
          <a:xfrm>
            <a:off x="2182105" y="106347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例</a:t>
            </a: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今日</a:t>
            </a:r>
            <a:r>
              <a:rPr lang="ja-JP" altLang="en-US" sz="1400" b="1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⇒「今日</a:t>
            </a:r>
            <a:r>
              <a:rPr lang="ja-JP" altLang="en-US" sz="1400" b="1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へ修正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" name="図 4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EBA18DDD-7C72-A81A-16C1-4F4EA31641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8" t="69596" r="1596" b="23498"/>
          <a:stretch/>
        </p:blipFill>
        <p:spPr>
          <a:xfrm>
            <a:off x="3679531" y="1604307"/>
            <a:ext cx="260674" cy="256174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7728FD-70B2-DED2-BED4-08C3C42B8BF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19872-E7DD-61C9-09C7-B8A22012B81E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411BD2F-A1EC-AC18-C928-2810BEAFE740}"/>
              </a:ext>
            </a:extLst>
          </p:cNvPr>
          <p:cNvSpPr txBox="1"/>
          <p:nvPr/>
        </p:nvSpPr>
        <p:spPr>
          <a:xfrm>
            <a:off x="3485787" y="1512998"/>
            <a:ext cx="38309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　　ボタンを押してカーソルを元の位置に戻して、文書作成へ戻ります</a:t>
            </a:r>
          </a:p>
        </p:txBody>
      </p:sp>
    </p:spTree>
    <p:extLst>
      <p:ext uri="{BB962C8B-B14F-4D97-AF65-F5344CB8AC3E}">
        <p14:creationId xmlns:p14="http://schemas.microsoft.com/office/powerpoint/2010/main" val="1501538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3">
      <a:majorFont>
        <a:latin typeface="BIZ UDPゴシック"/>
        <a:ea typeface="BIZ UDPゴシック"/>
        <a:cs typeface=""/>
      </a:majorFont>
      <a:minorFont>
        <a:latin typeface="BIZ UDPゴシック"/>
        <a:ea typeface="BIZ UDPゴシック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23fec77-1f23-433b-b54b-3158c30b0fa3" xsi:nil="true"/>
    <TaxCatchAll xmlns="956f8374-eac6-4c01-9e9a-c7d7573af740" xsi:nil="true"/>
    <lcf76f155ced4ddcb4097134ff3c332f xmlns="c23fec77-1f23-433b-b54b-3158c30b0fa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4154F20975AA5409AAA8A81D223D4B6" ma:contentTypeVersion="15" ma:contentTypeDescription="新しいドキュメントを作成します。" ma:contentTypeScope="" ma:versionID="314d706d4a484fe7dec4c48c0c727a32">
  <xsd:schema xmlns:xsd="http://www.w3.org/2001/XMLSchema" xmlns:xs="http://www.w3.org/2001/XMLSchema" xmlns:p="http://schemas.microsoft.com/office/2006/metadata/properties" xmlns:ns2="c23fec77-1f23-433b-b54b-3158c30b0fa3" xmlns:ns3="956f8374-eac6-4c01-9e9a-c7d7573af740" targetNamespace="http://schemas.microsoft.com/office/2006/metadata/properties" ma:root="true" ma:fieldsID="36acf314f04ac0dee4af1caab1f68fe6" ns2:_="" ns3:_="">
    <xsd:import namespace="c23fec77-1f23-433b-b54b-3158c30b0fa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fec77-1f23-433b-b54b-3158c30b0fa3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承認の状態" ma:internalName="_x0024_Resources_x003a_core_x002c_Signoff_Status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FA4130-BE44-427B-B003-3D280E3CC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284CE3-AE08-4CA7-9EE9-8A6BB0A09FFA}">
  <ds:schemaRefs>
    <ds:schemaRef ds:uri="http://schemas.openxmlformats.org/package/2006/metadata/core-properties"/>
    <ds:schemaRef ds:uri="http://purl.org/dc/dcmitype/"/>
    <ds:schemaRef ds:uri="2c894bec-798d-4cf3-95d8-8ea6401a7b86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079a4871-f4a2-4665-9954-203da50962a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E9B0037-3E28-4E7B-B55E-A8BC4FDC49C6}"/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Words>1904</Words>
  <PresentationFormat>画面に合わせる (4:3)</PresentationFormat>
  <Paragraphs>432</Paragraphs>
  <Slides>34</Slides>
  <Notes>3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4</vt:i4>
      </vt:variant>
    </vt:vector>
  </HeadingPairs>
  <TitlesOfParts>
    <vt:vector size="40" baseType="lpstr">
      <vt:lpstr>BIZ UDPゴシック</vt:lpstr>
      <vt:lpstr>游ゴシック</vt:lpstr>
      <vt:lpstr>Arial</vt:lpstr>
      <vt:lpstr>Calibri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１-B</vt:lpstr>
      <vt:lpstr>１-B</vt:lpstr>
      <vt:lpstr>１-B</vt:lpstr>
      <vt:lpstr>キーボードの切り替え</vt:lpstr>
      <vt:lpstr>キーボードの切り替え</vt:lpstr>
      <vt:lpstr>1-C</vt:lpstr>
      <vt:lpstr>1-C</vt:lpstr>
      <vt:lpstr>PowerPoint プレゼンテーション</vt:lpstr>
      <vt:lpstr>2-A</vt:lpstr>
      <vt:lpstr>2-B</vt:lpstr>
      <vt:lpstr>2-B</vt:lpstr>
      <vt:lpstr>2-B</vt:lpstr>
      <vt:lpstr>2-B</vt:lpstr>
      <vt:lpstr>2-B</vt:lpstr>
      <vt:lpstr>2-B</vt:lpstr>
      <vt:lpstr>2-B</vt:lpstr>
      <vt:lpstr>2-C</vt:lpstr>
      <vt:lpstr>2-C</vt:lpstr>
      <vt:lpstr>2-D</vt:lpstr>
      <vt:lpstr>2-D</vt:lpstr>
      <vt:lpstr>2-E</vt:lpstr>
      <vt:lpstr>2-E</vt:lpstr>
      <vt:lpstr>2-F</vt:lpstr>
      <vt:lpstr>2-F</vt:lpstr>
      <vt:lpstr>2-G</vt:lpstr>
      <vt:lpstr>2-G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54F20975AA5409AAA8A81D223D4B6</vt:lpwstr>
  </property>
  <property fmtid="{D5CDD505-2E9C-101B-9397-08002B2CF9AE}" pid="3" name="MediaServiceImageTags">
    <vt:lpwstr/>
  </property>
  <property fmtid="{D5CDD505-2E9C-101B-9397-08002B2CF9AE}" pid="4" name="Order">
    <vt:r8>4238800</vt:r8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